
<file path=[Content_Types].xml><?xml version="1.0" encoding="utf-8"?>
<Types xmlns="http://schemas.openxmlformats.org/package/2006/content-types">
  <Default Extension="xml" ContentType="application/xml"/>
  <Default Extension="wmf" ContentType="image/x-wmf"/>
  <Default Extension="jpeg" ContentType="image/jpeg"/>
  <Default Extension="rels" ContentType="application/vnd.openxmlformats-package.relationships+xml"/>
  <Default Extension="emf" ContentType="image/x-emf"/>
  <Default Extension="gif" ContentType="image/gif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1.xml" ContentType="application/vnd.openxmlformats-officedocument.presentationml.notesSlide+xml"/>
  <Override PartName="/ppt/tags/tag21.xml" ContentType="application/vnd.openxmlformats-officedocument.presentationml.tags+xml"/>
  <Override PartName="/ppt/notesSlides/notesSlide2.xml" ContentType="application/vnd.openxmlformats-officedocument.presentationml.notesSlide+xml"/>
  <Override PartName="/ppt/tags/tag22.xml" ContentType="application/vnd.openxmlformats-officedocument.presentationml.tags+xml"/>
  <Override PartName="/ppt/notesSlides/notesSlide3.xml" ContentType="application/vnd.openxmlformats-officedocument.presentationml.notesSlide+xml"/>
  <Override PartName="/ppt/tags/tag23.xml" ContentType="application/vnd.openxmlformats-officedocument.presentationml.tags+xml"/>
  <Override PartName="/ppt/notesSlides/notesSlide4.xml" ContentType="application/vnd.openxmlformats-officedocument.presentationml.notesSlide+xml"/>
  <Override PartName="/ppt/tags/tag24.xml" ContentType="application/vnd.openxmlformats-officedocument.presentationml.tags+xml"/>
  <Override PartName="/ppt/notesSlides/notesSlide5.xml" ContentType="application/vnd.openxmlformats-officedocument.presentationml.notesSlide+xml"/>
  <Override PartName="/ppt/tags/tag25.xml" ContentType="application/vnd.openxmlformats-officedocument.presentationml.tags+xml"/>
  <Override PartName="/ppt/notesSlides/notesSlide6.xml" ContentType="application/vnd.openxmlformats-officedocument.presentationml.notesSlide+xml"/>
  <Override PartName="/ppt/tags/tag26.xml" ContentType="application/vnd.openxmlformats-officedocument.presentationml.tags+xml"/>
  <Override PartName="/ppt/notesSlides/notesSlide7.xml" ContentType="application/vnd.openxmlformats-officedocument.presentationml.notesSlide+xml"/>
  <Override PartName="/ppt/tags/tag27.xml" ContentType="application/vnd.openxmlformats-officedocument.presentationml.tags+xml"/>
  <Override PartName="/ppt/notesSlides/notesSlide8.xml" ContentType="application/vnd.openxmlformats-officedocument.presentationml.notesSlide+xml"/>
  <Override PartName="/ppt/tags/tag28.xml" ContentType="application/vnd.openxmlformats-officedocument.presentationml.tags+xml"/>
  <Override PartName="/ppt/notesSlides/notesSlide9.xml" ContentType="application/vnd.openxmlformats-officedocument.presentationml.notesSlide+xml"/>
  <Override PartName="/ppt/tags/tag29.xml" ContentType="application/vnd.openxmlformats-officedocument.presentationml.tags+xml"/>
  <Override PartName="/ppt/notesSlides/notesSlide10.xml" ContentType="application/vnd.openxmlformats-officedocument.presentationml.notesSlide+xml"/>
  <Override PartName="/ppt/tags/tag30.xml" ContentType="application/vnd.openxmlformats-officedocument.presentationml.tags+xml"/>
  <Override PartName="/ppt/notesSlides/notesSlide11.xml" ContentType="application/vnd.openxmlformats-officedocument.presentationml.notesSlide+xml"/>
  <Override PartName="/ppt/tags/tag31.xml" ContentType="application/vnd.openxmlformats-officedocument.presentationml.tags+xml"/>
  <Override PartName="/ppt/notesSlides/notesSlide12.xml" ContentType="application/vnd.openxmlformats-officedocument.presentationml.notesSlide+xml"/>
  <Override PartName="/ppt/tags/tag32.xml" ContentType="application/vnd.openxmlformats-officedocument.presentationml.tags+xml"/>
  <Override PartName="/ppt/notesSlides/notesSlide13.xml" ContentType="application/vnd.openxmlformats-officedocument.presentationml.notesSlide+xml"/>
  <Override PartName="/ppt/tags/tag33.xml" ContentType="application/vnd.openxmlformats-officedocument.presentationml.tags+xml"/>
  <Override PartName="/ppt/notesSlides/notesSlide14.xml" ContentType="application/vnd.openxmlformats-officedocument.presentationml.notesSlide+xml"/>
  <Override PartName="/ppt/tags/tag34.xml" ContentType="application/vnd.openxmlformats-officedocument.presentationml.tags+xml"/>
  <Override PartName="/ppt/notesSlides/notesSlide15.xml" ContentType="application/vnd.openxmlformats-officedocument.presentationml.notesSlide+xml"/>
  <Override PartName="/ppt/tags/tag35.xml" ContentType="application/vnd.openxmlformats-officedocument.presentationml.tags+xml"/>
  <Override PartName="/ppt/notesSlides/notesSlide16.xml" ContentType="application/vnd.openxmlformats-officedocument.presentationml.notesSlide+xml"/>
  <Override PartName="/ppt/tags/tag36.xml" ContentType="application/vnd.openxmlformats-officedocument.presentationml.tags+xml"/>
  <Override PartName="/ppt/notesSlides/notesSlide17.xml" ContentType="application/vnd.openxmlformats-officedocument.presentationml.notesSlide+xml"/>
  <Override PartName="/ppt/tags/tag37.xml" ContentType="application/vnd.openxmlformats-officedocument.presentationml.tags+xml"/>
  <Override PartName="/ppt/notesSlides/notesSlide18.xml" ContentType="application/vnd.openxmlformats-officedocument.presentationml.notesSlide+xml"/>
  <Override PartName="/ppt/tags/tag38.xml" ContentType="application/vnd.openxmlformats-officedocument.presentationml.tags+xml"/>
  <Override PartName="/ppt/notesSlides/notesSlide19.xml" ContentType="application/vnd.openxmlformats-officedocument.presentationml.notesSlide+xml"/>
  <Override PartName="/ppt/tags/tag39.xml" ContentType="application/vnd.openxmlformats-officedocument.presentationml.tags+xml"/>
  <Override PartName="/ppt/notesSlides/notesSlide20.xml" ContentType="application/vnd.openxmlformats-officedocument.presentationml.notesSlide+xml"/>
  <Override PartName="/ppt/tags/tag40.xml" ContentType="application/vnd.openxmlformats-officedocument.presentationml.tags+xml"/>
  <Override PartName="/ppt/notesSlides/notesSlide21.xml" ContentType="application/vnd.openxmlformats-officedocument.presentationml.notesSlide+xml"/>
  <Override PartName="/ppt/tags/tag41.xml" ContentType="application/vnd.openxmlformats-officedocument.presentationml.tags+xml"/>
  <Override PartName="/ppt/notesSlides/notesSlide22.xml" ContentType="application/vnd.openxmlformats-officedocument.presentationml.notesSlide+xml"/>
  <Override PartName="/ppt/tags/tag42.xml" ContentType="application/vnd.openxmlformats-officedocument.presentationml.tags+xml"/>
  <Override PartName="/ppt/notesSlides/notesSlide23.xml" ContentType="application/vnd.openxmlformats-officedocument.presentationml.notesSlid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notesSlides/notesSlide24.xml" ContentType="application/vnd.openxmlformats-officedocument.presentationml.notesSlide+xml"/>
  <Override PartName="/ppt/tags/tag50.xml" ContentType="application/vnd.openxmlformats-officedocument.presentationml.tags+xml"/>
  <Override PartName="/ppt/notesSlides/notesSlide25.xml" ContentType="application/vnd.openxmlformats-officedocument.presentationml.notesSlide+xml"/>
  <Override PartName="/ppt/tags/tag51.xml" ContentType="application/vnd.openxmlformats-officedocument.presentationml.tags+xml"/>
  <Override PartName="/ppt/notesSlides/notesSlide26.xml" ContentType="application/vnd.openxmlformats-officedocument.presentationml.notesSlide+xml"/>
  <Override PartName="/ppt/tags/tag52.xml" ContentType="application/vnd.openxmlformats-officedocument.presentationml.tags+xml"/>
  <Override PartName="/ppt/notesSlides/notesSlide27.xml" ContentType="application/vnd.openxmlformats-officedocument.presentationml.notesSlide+xml"/>
  <Override PartName="/ppt/tags/tag53.xml" ContentType="application/vnd.openxmlformats-officedocument.presentationml.tags+xml"/>
  <Override PartName="/ppt/notesSlides/notesSlide28.xml" ContentType="application/vnd.openxmlformats-officedocument.presentationml.notesSlide+xml"/>
  <Override PartName="/ppt/tags/tag54.xml" ContentType="application/vnd.openxmlformats-officedocument.presentationml.tags+xml"/>
  <Override PartName="/ppt/notesSlides/notesSlide29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55.xml" ContentType="application/vnd.openxmlformats-officedocument.presentationml.tags+xml"/>
  <Override PartName="/ppt/notesSlides/notesSlide30.xml" ContentType="application/vnd.openxmlformats-officedocument.presentationml.notesSlide+xml"/>
  <Override PartName="/ppt/tags/tag56.xml" ContentType="application/vnd.openxmlformats-officedocument.presentationml.tags+xml"/>
  <Override PartName="/ppt/notesSlides/notesSlide31.xml" ContentType="application/vnd.openxmlformats-officedocument.presentationml.notesSlide+xml"/>
  <Override PartName="/ppt/tags/tag57.xml" ContentType="application/vnd.openxmlformats-officedocument.presentationml.tags+xml"/>
  <Override PartName="/ppt/notesSlides/notesSlide32.xml" ContentType="application/vnd.openxmlformats-officedocument.presentationml.notesSlide+xml"/>
  <Override PartName="/ppt/tags/tag58.xml" ContentType="application/vnd.openxmlformats-officedocument.presentationml.tags+xml"/>
  <Override PartName="/ppt/notesSlides/notesSlide33.xml" ContentType="application/vnd.openxmlformats-officedocument.presentationml.notesSlide+xml"/>
  <Override PartName="/ppt/tags/tag59.xml" ContentType="application/vnd.openxmlformats-officedocument.presentationml.tags+xml"/>
  <Override PartName="/ppt/notesSlides/notesSlide34.xml" ContentType="application/vnd.openxmlformats-officedocument.presentationml.notesSlide+xml"/>
  <Override PartName="/ppt/tags/tag60.xml" ContentType="application/vnd.openxmlformats-officedocument.presentationml.tags+xml"/>
  <Override PartName="/ppt/notesSlides/notesSlide35.xml" ContentType="application/vnd.openxmlformats-officedocument.presentationml.notesSlide+xml"/>
  <Override PartName="/ppt/tags/tag61.xml" ContentType="application/vnd.openxmlformats-officedocument.presentationml.tags+xml"/>
  <Override PartName="/ppt/notesSlides/notesSlide36.xml" ContentType="application/vnd.openxmlformats-officedocument.presentationml.notesSlide+xml"/>
  <Override PartName="/ppt/tags/tag62.xml" ContentType="application/vnd.openxmlformats-officedocument.presentationml.tags+xml"/>
  <Override PartName="/ppt/notesSlides/notesSlide37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63.xml" ContentType="application/vnd.openxmlformats-officedocument.presentationml.tags+xml"/>
  <Override PartName="/ppt/notesSlides/notesSlide38.xml" ContentType="application/vnd.openxmlformats-officedocument.presentationml.notesSlide+xml"/>
  <Override PartName="/ppt/tags/tag64.xml" ContentType="application/vnd.openxmlformats-officedocument.presentationml.tags+xml"/>
  <Override PartName="/ppt/notesSlides/notesSlide39.xml" ContentType="application/vnd.openxmlformats-officedocument.presentationml.notesSlide+xml"/>
  <Override PartName="/ppt/tags/tag65.xml" ContentType="application/vnd.openxmlformats-officedocument.presentationml.tags+xml"/>
  <Override PartName="/ppt/notesSlides/notesSlide40.xml" ContentType="application/vnd.openxmlformats-officedocument.presentationml.notesSlide+xml"/>
  <Override PartName="/ppt/tags/tag66.xml" ContentType="application/vnd.openxmlformats-officedocument.presentationml.tags+xml"/>
  <Override PartName="/ppt/notesSlides/notesSlide41.xml" ContentType="application/vnd.openxmlformats-officedocument.presentationml.notesSlide+xml"/>
  <Override PartName="/ppt/tags/tag67.xml" ContentType="application/vnd.openxmlformats-officedocument.presentationml.tags+xml"/>
  <Override PartName="/ppt/notesSlides/notesSlide42.xml" ContentType="application/vnd.openxmlformats-officedocument.presentationml.notesSlide+xml"/>
  <Override PartName="/ppt/tags/tag68.xml" ContentType="application/vnd.openxmlformats-officedocument.presentationml.tags+xml"/>
  <Override PartName="/ppt/notesSlides/notesSlide43.xml" ContentType="application/vnd.openxmlformats-officedocument.presentationml.notesSlide+xml"/>
  <Override PartName="/ppt/tags/tag69.xml" ContentType="application/vnd.openxmlformats-officedocument.presentationml.tags+xml"/>
  <Override PartName="/ppt/notesSlides/notesSlide44.xml" ContentType="application/vnd.openxmlformats-officedocument.presentationml.notesSlide+xml"/>
  <Override PartName="/ppt/tags/tag70.xml" ContentType="application/vnd.openxmlformats-officedocument.presentationml.tags+xml"/>
  <Override PartName="/ppt/notesSlides/notesSlide45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71.xml" ContentType="application/vnd.openxmlformats-officedocument.presentationml.tags+xml"/>
  <Override PartName="/ppt/notesSlides/notesSlide46.xml" ContentType="application/vnd.openxmlformats-officedocument.presentationml.notesSlide+xml"/>
  <Override PartName="/ppt/tags/tag72.xml" ContentType="application/vnd.openxmlformats-officedocument.presentationml.tags+xml"/>
  <Override PartName="/ppt/notesSlides/notesSlide47.xml" ContentType="application/vnd.openxmlformats-officedocument.presentationml.notesSlide+xml"/>
  <Override PartName="/ppt/tags/tag73.xml" ContentType="application/vnd.openxmlformats-officedocument.presentationml.tags+xml"/>
  <Override PartName="/ppt/notesSlides/notesSlide48.xml" ContentType="application/vnd.openxmlformats-officedocument.presentationml.notesSlide+xml"/>
  <Override PartName="/ppt/tags/tag74.xml" ContentType="application/vnd.openxmlformats-officedocument.presentationml.tags+xml"/>
  <Override PartName="/ppt/notesSlides/notesSlide49.xml" ContentType="application/vnd.openxmlformats-officedocument.presentationml.notesSlide+xml"/>
  <Override PartName="/ppt/tags/tag75.xml" ContentType="application/vnd.openxmlformats-officedocument.presentationml.tags+xml"/>
  <Override PartName="/ppt/notesSlides/notesSlide5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5" Type="http://schemas.openxmlformats.org/officeDocument/2006/relationships/custom-properties" Target="docProps/custom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trictFirstAndLastChars="0" saveSubsetFonts="1">
  <p:sldMasterIdLst>
    <p:sldMasterId id="2147483650" r:id="rId1"/>
  </p:sldMasterIdLst>
  <p:notesMasterIdLst>
    <p:notesMasterId r:id="rId56"/>
  </p:notesMasterIdLst>
  <p:handoutMasterIdLst>
    <p:handoutMasterId r:id="rId57"/>
  </p:handoutMasterIdLst>
  <p:sldIdLst>
    <p:sldId id="256" r:id="rId2"/>
    <p:sldId id="354" r:id="rId3"/>
    <p:sldId id="404" r:id="rId4"/>
    <p:sldId id="476" r:id="rId5"/>
    <p:sldId id="461" r:id="rId6"/>
    <p:sldId id="353" r:id="rId7"/>
    <p:sldId id="462" r:id="rId8"/>
    <p:sldId id="426" r:id="rId9"/>
    <p:sldId id="463" r:id="rId10"/>
    <p:sldId id="464" r:id="rId11"/>
    <p:sldId id="465" r:id="rId12"/>
    <p:sldId id="466" r:id="rId13"/>
    <p:sldId id="468" r:id="rId14"/>
    <p:sldId id="469" r:id="rId15"/>
    <p:sldId id="470" r:id="rId16"/>
    <p:sldId id="474" r:id="rId17"/>
    <p:sldId id="472" r:id="rId18"/>
    <p:sldId id="471" r:id="rId19"/>
    <p:sldId id="478" r:id="rId20"/>
    <p:sldId id="473" r:id="rId21"/>
    <p:sldId id="359" r:id="rId22"/>
    <p:sldId id="360" r:id="rId23"/>
    <p:sldId id="475" r:id="rId24"/>
    <p:sldId id="477" r:id="rId25"/>
    <p:sldId id="352" r:id="rId26"/>
    <p:sldId id="504" r:id="rId27"/>
    <p:sldId id="505" r:id="rId28"/>
    <p:sldId id="506" r:id="rId29"/>
    <p:sldId id="479" r:id="rId30"/>
    <p:sldId id="480" r:id="rId31"/>
    <p:sldId id="481" r:id="rId32"/>
    <p:sldId id="482" r:id="rId33"/>
    <p:sldId id="483" r:id="rId34"/>
    <p:sldId id="484" r:id="rId35"/>
    <p:sldId id="485" r:id="rId36"/>
    <p:sldId id="486" r:id="rId37"/>
    <p:sldId id="487" r:id="rId38"/>
    <p:sldId id="488" r:id="rId39"/>
    <p:sldId id="489" r:id="rId40"/>
    <p:sldId id="490" r:id="rId41"/>
    <p:sldId id="491" r:id="rId42"/>
    <p:sldId id="492" r:id="rId43"/>
    <p:sldId id="493" r:id="rId44"/>
    <p:sldId id="494" r:id="rId45"/>
    <p:sldId id="495" r:id="rId46"/>
    <p:sldId id="496" r:id="rId47"/>
    <p:sldId id="497" r:id="rId48"/>
    <p:sldId id="498" r:id="rId49"/>
    <p:sldId id="499" r:id="rId50"/>
    <p:sldId id="500" r:id="rId51"/>
    <p:sldId id="501" r:id="rId52"/>
    <p:sldId id="502" r:id="rId53"/>
    <p:sldId id="503" r:id="rId54"/>
    <p:sldId id="507" r:id="rId55"/>
  </p:sldIdLst>
  <p:sldSz cx="10058400" cy="7772400"/>
  <p:notesSz cx="7315200" cy="9601200"/>
  <p:custDataLst>
    <p:tags r:id="rId59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Trebuchet MS" pitchFamily="34" charset="0"/>
        <a:ea typeface="LF_Kai"/>
        <a:cs typeface="LF_Kai"/>
      </a:defRPr>
    </a:lvl1pPr>
    <a:lvl2pPr marL="45720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Trebuchet MS" pitchFamily="34" charset="0"/>
        <a:ea typeface="LF_Kai"/>
        <a:cs typeface="LF_Kai"/>
      </a:defRPr>
    </a:lvl2pPr>
    <a:lvl3pPr marL="91440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Trebuchet MS" pitchFamily="34" charset="0"/>
        <a:ea typeface="LF_Kai"/>
        <a:cs typeface="LF_Kai"/>
      </a:defRPr>
    </a:lvl3pPr>
    <a:lvl4pPr marL="137160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Trebuchet MS" pitchFamily="34" charset="0"/>
        <a:ea typeface="LF_Kai"/>
        <a:cs typeface="LF_Kai"/>
      </a:defRPr>
    </a:lvl4pPr>
    <a:lvl5pPr marL="182880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Trebuchet MS" pitchFamily="34" charset="0"/>
        <a:ea typeface="LF_Kai"/>
        <a:cs typeface="LF_Kai"/>
      </a:defRPr>
    </a:lvl5pPr>
    <a:lvl6pPr marL="2286000" algn="l" defTabSz="914400" rtl="0" eaLnBrk="1" latinLnBrk="0" hangingPunct="1">
      <a:defRPr sz="1400" kern="1200">
        <a:solidFill>
          <a:schemeClr val="tx1"/>
        </a:solidFill>
        <a:latin typeface="Trebuchet MS" pitchFamily="34" charset="0"/>
        <a:ea typeface="LF_Kai"/>
        <a:cs typeface="LF_Kai"/>
      </a:defRPr>
    </a:lvl6pPr>
    <a:lvl7pPr marL="2743200" algn="l" defTabSz="914400" rtl="0" eaLnBrk="1" latinLnBrk="0" hangingPunct="1">
      <a:defRPr sz="1400" kern="1200">
        <a:solidFill>
          <a:schemeClr val="tx1"/>
        </a:solidFill>
        <a:latin typeface="Trebuchet MS" pitchFamily="34" charset="0"/>
        <a:ea typeface="LF_Kai"/>
        <a:cs typeface="LF_Kai"/>
      </a:defRPr>
    </a:lvl7pPr>
    <a:lvl8pPr marL="3200400" algn="l" defTabSz="914400" rtl="0" eaLnBrk="1" latinLnBrk="0" hangingPunct="1">
      <a:defRPr sz="1400" kern="1200">
        <a:solidFill>
          <a:schemeClr val="tx1"/>
        </a:solidFill>
        <a:latin typeface="Trebuchet MS" pitchFamily="34" charset="0"/>
        <a:ea typeface="LF_Kai"/>
        <a:cs typeface="LF_Kai"/>
      </a:defRPr>
    </a:lvl8pPr>
    <a:lvl9pPr marL="3657600" algn="l" defTabSz="914400" rtl="0" eaLnBrk="1" latinLnBrk="0" hangingPunct="1">
      <a:defRPr sz="1400" kern="1200">
        <a:solidFill>
          <a:schemeClr val="tx1"/>
        </a:solidFill>
        <a:latin typeface="Trebuchet MS" pitchFamily="34" charset="0"/>
        <a:ea typeface="LF_Kai"/>
        <a:cs typeface="LF_Kai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6EB0A"/>
    <a:srgbClr val="FFCC00"/>
    <a:srgbClr val="E2AC00"/>
    <a:srgbClr val="0000FF"/>
    <a:srgbClr val="FFCC99"/>
    <a:srgbClr val="3E1F00"/>
    <a:srgbClr val="663300"/>
    <a:srgbClr val="CCFFFF"/>
    <a:srgbClr val="224778"/>
    <a:srgbClr val="1E3E6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4719" autoAdjust="0"/>
    <p:restoredTop sz="89749" autoAdjust="0"/>
  </p:normalViewPr>
  <p:slideViewPr>
    <p:cSldViewPr>
      <p:cViewPr>
        <p:scale>
          <a:sx n="90" d="100"/>
          <a:sy n="90" d="100"/>
        </p:scale>
        <p:origin x="-2432" y="-624"/>
      </p:cViewPr>
      <p:guideLst>
        <p:guide orient="horz" pos="4320"/>
        <p:guide orient="horz" pos="768"/>
        <p:guide orient="horz" pos="3888"/>
        <p:guide orient="horz" pos="4128"/>
        <p:guide orient="horz" pos="2736"/>
        <p:guide orient="horz" pos="2448"/>
        <p:guide pos="5808"/>
        <p:guide pos="768"/>
        <p:guide pos="3264"/>
        <p:guide pos="3120"/>
        <p:guide pos="3504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0" d="100"/>
        <a:sy n="70" d="100"/>
      </p:scale>
      <p:origin x="0" y="0"/>
    </p:cViewPr>
  </p:sorterViewPr>
  <p:notesViewPr>
    <p:cSldViewPr>
      <p:cViewPr varScale="1">
        <p:scale>
          <a:sx n="62" d="100"/>
          <a:sy n="62" d="100"/>
        </p:scale>
        <p:origin x="-1974" y="-78"/>
      </p:cViewPr>
      <p:guideLst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63" Type="http://schemas.openxmlformats.org/officeDocument/2006/relationships/tableStyles" Target="tableStyles.xml"/><Relationship Id="rId50" Type="http://schemas.openxmlformats.org/officeDocument/2006/relationships/slide" Target="slides/slide49.xml"/><Relationship Id="rId51" Type="http://schemas.openxmlformats.org/officeDocument/2006/relationships/slide" Target="slides/slide50.xml"/><Relationship Id="rId52" Type="http://schemas.openxmlformats.org/officeDocument/2006/relationships/slide" Target="slides/slide51.xml"/><Relationship Id="rId53" Type="http://schemas.openxmlformats.org/officeDocument/2006/relationships/slide" Target="slides/slide52.xml"/><Relationship Id="rId54" Type="http://schemas.openxmlformats.org/officeDocument/2006/relationships/slide" Target="slides/slide53.xml"/><Relationship Id="rId55" Type="http://schemas.openxmlformats.org/officeDocument/2006/relationships/slide" Target="slides/slide54.xml"/><Relationship Id="rId56" Type="http://schemas.openxmlformats.org/officeDocument/2006/relationships/notesMaster" Target="notesMasters/notesMaster1.xml"/><Relationship Id="rId57" Type="http://schemas.openxmlformats.org/officeDocument/2006/relationships/handoutMaster" Target="handoutMasters/handoutMaster1.xml"/><Relationship Id="rId58" Type="http://schemas.openxmlformats.org/officeDocument/2006/relationships/printerSettings" Target="printerSettings/printerSettings1.bin"/><Relationship Id="rId59" Type="http://schemas.openxmlformats.org/officeDocument/2006/relationships/tags" Target="tags/tag1.xml"/><Relationship Id="rId40" Type="http://schemas.openxmlformats.org/officeDocument/2006/relationships/slide" Target="slides/slide39.xml"/><Relationship Id="rId41" Type="http://schemas.openxmlformats.org/officeDocument/2006/relationships/slide" Target="slides/slide40.xml"/><Relationship Id="rId42" Type="http://schemas.openxmlformats.org/officeDocument/2006/relationships/slide" Target="slides/slide41.xml"/><Relationship Id="rId43" Type="http://schemas.openxmlformats.org/officeDocument/2006/relationships/slide" Target="slides/slide42.xml"/><Relationship Id="rId44" Type="http://schemas.openxmlformats.org/officeDocument/2006/relationships/slide" Target="slides/slide43.xml"/><Relationship Id="rId45" Type="http://schemas.openxmlformats.org/officeDocument/2006/relationships/slide" Target="slides/slide44.xml"/><Relationship Id="rId46" Type="http://schemas.openxmlformats.org/officeDocument/2006/relationships/slide" Target="slides/slide45.xml"/><Relationship Id="rId47" Type="http://schemas.openxmlformats.org/officeDocument/2006/relationships/slide" Target="slides/slide46.xml"/><Relationship Id="rId48" Type="http://schemas.openxmlformats.org/officeDocument/2006/relationships/slide" Target="slides/slide47.xml"/><Relationship Id="rId49" Type="http://schemas.openxmlformats.org/officeDocument/2006/relationships/slide" Target="slides/slide4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9" Type="http://schemas.openxmlformats.org/officeDocument/2006/relationships/slide" Target="slides/slide8.xml"/><Relationship Id="rId30" Type="http://schemas.openxmlformats.org/officeDocument/2006/relationships/slide" Target="slides/slide29.xml"/><Relationship Id="rId31" Type="http://schemas.openxmlformats.org/officeDocument/2006/relationships/slide" Target="slides/slide30.xml"/><Relationship Id="rId32" Type="http://schemas.openxmlformats.org/officeDocument/2006/relationships/slide" Target="slides/slide31.xml"/><Relationship Id="rId33" Type="http://schemas.openxmlformats.org/officeDocument/2006/relationships/slide" Target="slides/slide32.xml"/><Relationship Id="rId34" Type="http://schemas.openxmlformats.org/officeDocument/2006/relationships/slide" Target="slides/slide33.xml"/><Relationship Id="rId35" Type="http://schemas.openxmlformats.org/officeDocument/2006/relationships/slide" Target="slides/slide34.xml"/><Relationship Id="rId36" Type="http://schemas.openxmlformats.org/officeDocument/2006/relationships/slide" Target="slides/slide35.xml"/><Relationship Id="rId37" Type="http://schemas.openxmlformats.org/officeDocument/2006/relationships/slide" Target="slides/slide36.xml"/><Relationship Id="rId38" Type="http://schemas.openxmlformats.org/officeDocument/2006/relationships/slide" Target="slides/slide37.xml"/><Relationship Id="rId39" Type="http://schemas.openxmlformats.org/officeDocument/2006/relationships/slide" Target="slides/slide38.xml"/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slide" Target="slides/slide22.xml"/><Relationship Id="rId24" Type="http://schemas.openxmlformats.org/officeDocument/2006/relationships/slide" Target="slides/slide23.xml"/><Relationship Id="rId25" Type="http://schemas.openxmlformats.org/officeDocument/2006/relationships/slide" Target="slides/slide24.xml"/><Relationship Id="rId26" Type="http://schemas.openxmlformats.org/officeDocument/2006/relationships/slide" Target="slides/slide25.xml"/><Relationship Id="rId27" Type="http://schemas.openxmlformats.org/officeDocument/2006/relationships/slide" Target="slides/slide26.xml"/><Relationship Id="rId28" Type="http://schemas.openxmlformats.org/officeDocument/2006/relationships/slide" Target="slides/slide27.xml"/><Relationship Id="rId29" Type="http://schemas.openxmlformats.org/officeDocument/2006/relationships/slide" Target="slides/slide28.xml"/><Relationship Id="rId60" Type="http://schemas.openxmlformats.org/officeDocument/2006/relationships/presProps" Target="presProps.xml"/><Relationship Id="rId61" Type="http://schemas.openxmlformats.org/officeDocument/2006/relationships/viewProps" Target="viewProps.xml"/><Relationship Id="rId62" Type="http://schemas.openxmlformats.org/officeDocument/2006/relationships/theme" Target="theme/theme1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A53D01F-F0C6-4F60-A5F1-ECFB3E910CF3}" type="doc">
      <dgm:prSet loTypeId="urn:microsoft.com/office/officeart/2005/8/layout/chevron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CA414E9C-26B0-45A8-9A4F-57A6FA5501DD}">
      <dgm:prSet phldrT="[Text]"/>
      <dgm:spPr/>
      <dgm:t>
        <a:bodyPr/>
        <a:lstStyle/>
        <a:p>
          <a:r>
            <a:rPr lang="en-US" dirty="0" smtClean="0"/>
            <a:t>General</a:t>
          </a:r>
          <a:endParaRPr lang="en-US" dirty="0"/>
        </a:p>
      </dgm:t>
    </dgm:pt>
    <dgm:pt modelId="{056CF49E-08F4-4B03-AC0B-B407FF1A509A}" type="parTrans" cxnId="{D7D88627-EDB3-4BF8-92F1-1F4542585180}">
      <dgm:prSet/>
      <dgm:spPr/>
      <dgm:t>
        <a:bodyPr/>
        <a:lstStyle/>
        <a:p>
          <a:endParaRPr lang="en-US"/>
        </a:p>
      </dgm:t>
    </dgm:pt>
    <dgm:pt modelId="{A125C2CE-BDD5-410C-B2BA-56765F2566B6}" type="sibTrans" cxnId="{D7D88627-EDB3-4BF8-92F1-1F4542585180}">
      <dgm:prSet/>
      <dgm:spPr/>
      <dgm:t>
        <a:bodyPr/>
        <a:lstStyle/>
        <a:p>
          <a:endParaRPr lang="en-US"/>
        </a:p>
      </dgm:t>
    </dgm:pt>
    <dgm:pt modelId="{87671879-3B33-45F6-BF16-3656526A1B9A}">
      <dgm:prSet phldrT="[Text]"/>
      <dgm:spPr/>
      <dgm:t>
        <a:bodyPr/>
        <a:lstStyle/>
        <a:p>
          <a:r>
            <a:rPr lang="en-US" dirty="0" smtClean="0"/>
            <a:t>No one will ever know </a:t>
          </a:r>
          <a:r>
            <a:rPr lang="en-US" i="1" dirty="0" smtClean="0"/>
            <a:t>all</a:t>
          </a:r>
          <a:r>
            <a:rPr lang="en-US" dirty="0" smtClean="0"/>
            <a:t> the risk; it’s a huge universe</a:t>
          </a:r>
          <a:endParaRPr lang="en-US" dirty="0"/>
        </a:p>
      </dgm:t>
    </dgm:pt>
    <dgm:pt modelId="{BD0E0FAC-A1AB-4CDF-BA94-145DC8A33273}" type="parTrans" cxnId="{5B1007EA-0A4F-4A96-85D4-154768344765}">
      <dgm:prSet/>
      <dgm:spPr/>
      <dgm:t>
        <a:bodyPr/>
        <a:lstStyle/>
        <a:p>
          <a:endParaRPr lang="en-US"/>
        </a:p>
      </dgm:t>
    </dgm:pt>
    <dgm:pt modelId="{5C75DADA-20F6-4103-8580-51086D0E99AA}" type="sibTrans" cxnId="{5B1007EA-0A4F-4A96-85D4-154768344765}">
      <dgm:prSet/>
      <dgm:spPr/>
      <dgm:t>
        <a:bodyPr/>
        <a:lstStyle/>
        <a:p>
          <a:endParaRPr lang="en-US"/>
        </a:p>
      </dgm:t>
    </dgm:pt>
    <dgm:pt modelId="{5A96C84D-4944-4A26-A0CC-0DB33F29A665}">
      <dgm:prSet phldrT="[Text]"/>
      <dgm:spPr/>
      <dgm:t>
        <a:bodyPr/>
        <a:lstStyle/>
        <a:p>
          <a:r>
            <a:rPr lang="en-US" dirty="0" smtClean="0"/>
            <a:t>Technical</a:t>
          </a:r>
          <a:endParaRPr lang="en-US" dirty="0"/>
        </a:p>
      </dgm:t>
    </dgm:pt>
    <dgm:pt modelId="{C9974ADF-CA42-48DE-9701-E9B001053B5E}" type="parTrans" cxnId="{9EC1D517-CA7B-4AFC-AD7A-377D31587C9A}">
      <dgm:prSet/>
      <dgm:spPr/>
      <dgm:t>
        <a:bodyPr/>
        <a:lstStyle/>
        <a:p>
          <a:endParaRPr lang="en-US"/>
        </a:p>
      </dgm:t>
    </dgm:pt>
    <dgm:pt modelId="{9D0C480E-60BA-444A-9E43-AAA7B1F92985}" type="sibTrans" cxnId="{9EC1D517-CA7B-4AFC-AD7A-377D31587C9A}">
      <dgm:prSet/>
      <dgm:spPr/>
      <dgm:t>
        <a:bodyPr/>
        <a:lstStyle/>
        <a:p>
          <a:endParaRPr lang="en-US"/>
        </a:p>
      </dgm:t>
    </dgm:pt>
    <dgm:pt modelId="{0573BCB3-5408-4F40-9114-1D258168124A}">
      <dgm:prSet phldrT="[Text]"/>
      <dgm:spPr/>
      <dgm:t>
        <a:bodyPr/>
        <a:lstStyle/>
        <a:p>
          <a:r>
            <a:rPr lang="en-US" dirty="0" smtClean="0"/>
            <a:t>ERM has many powerful tools, namely the Risk Assessment</a:t>
          </a:r>
          <a:endParaRPr lang="en-US" dirty="0"/>
        </a:p>
      </dgm:t>
    </dgm:pt>
    <dgm:pt modelId="{5E8BFBF5-2D51-42AA-A2B0-2EF43CB21EEC}" type="parTrans" cxnId="{A9D09800-DD7B-4EEC-A788-12AB6CA6DFDE}">
      <dgm:prSet/>
      <dgm:spPr/>
      <dgm:t>
        <a:bodyPr/>
        <a:lstStyle/>
        <a:p>
          <a:endParaRPr lang="en-US"/>
        </a:p>
      </dgm:t>
    </dgm:pt>
    <dgm:pt modelId="{4D8497F7-6DEB-4249-9FC8-81B7D2D8A11C}" type="sibTrans" cxnId="{A9D09800-DD7B-4EEC-A788-12AB6CA6DFDE}">
      <dgm:prSet/>
      <dgm:spPr/>
      <dgm:t>
        <a:bodyPr/>
        <a:lstStyle/>
        <a:p>
          <a:endParaRPr lang="en-US"/>
        </a:p>
      </dgm:t>
    </dgm:pt>
    <dgm:pt modelId="{3EB3A777-3D94-4D78-BAF2-DEEAF5FC6F32}" type="pres">
      <dgm:prSet presAssocID="{DA53D01F-F0C6-4F60-A5F1-ECFB3E910CF3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A5111A67-9318-44CE-A55F-520ED8D65F7B}" type="pres">
      <dgm:prSet presAssocID="{CA414E9C-26B0-45A8-9A4F-57A6FA5501DD}" presName="composite" presStyleCnt="0"/>
      <dgm:spPr/>
    </dgm:pt>
    <dgm:pt modelId="{33F64AB7-42E0-47A0-9729-288D40C44003}" type="pres">
      <dgm:prSet presAssocID="{CA414E9C-26B0-45A8-9A4F-57A6FA5501DD}" presName="parentText" presStyleLbl="alignNode1" presStyleIdx="0" presStyleCnt="2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5AC8780-F6B3-44E5-B43C-3EB8BF140D53}" type="pres">
      <dgm:prSet presAssocID="{CA414E9C-26B0-45A8-9A4F-57A6FA5501DD}" presName="descendantText" presStyleLbl="alignAcc1" presStyleIdx="0" presStyleCnt="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CF3266D-6D31-429B-BE99-B4A623278A8D}" type="pres">
      <dgm:prSet presAssocID="{A125C2CE-BDD5-410C-B2BA-56765F2566B6}" presName="sp" presStyleCnt="0"/>
      <dgm:spPr/>
    </dgm:pt>
    <dgm:pt modelId="{2CA5753B-B987-4644-AD12-95D53D0C4F2B}" type="pres">
      <dgm:prSet presAssocID="{5A96C84D-4944-4A26-A0CC-0DB33F29A665}" presName="composite" presStyleCnt="0"/>
      <dgm:spPr/>
    </dgm:pt>
    <dgm:pt modelId="{8E2730DF-D5AB-4AAB-A4D3-F038715551D4}" type="pres">
      <dgm:prSet presAssocID="{5A96C84D-4944-4A26-A0CC-0DB33F29A665}" presName="parentText" presStyleLbl="alignNode1" presStyleIdx="1" presStyleCnt="2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14D2C68-2D58-4DF9-A5A8-314DD2E38F2D}" type="pres">
      <dgm:prSet presAssocID="{5A96C84D-4944-4A26-A0CC-0DB33F29A665}" presName="descendantText" presStyleLbl="alignAcc1" presStyleIdx="1" presStyleCnt="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D088C0DB-7446-48B7-9278-4EAE75DBBBB5}" type="presOf" srcId="{87671879-3B33-45F6-BF16-3656526A1B9A}" destId="{25AC8780-F6B3-44E5-B43C-3EB8BF140D53}" srcOrd="0" destOrd="0" presId="urn:microsoft.com/office/officeart/2005/8/layout/chevron2"/>
    <dgm:cxn modelId="{749CD5D9-30A0-4EE7-B23E-3CE587E30B4F}" type="presOf" srcId="{5A96C84D-4944-4A26-A0CC-0DB33F29A665}" destId="{8E2730DF-D5AB-4AAB-A4D3-F038715551D4}" srcOrd="0" destOrd="0" presId="urn:microsoft.com/office/officeart/2005/8/layout/chevron2"/>
    <dgm:cxn modelId="{5B1007EA-0A4F-4A96-85D4-154768344765}" srcId="{CA414E9C-26B0-45A8-9A4F-57A6FA5501DD}" destId="{87671879-3B33-45F6-BF16-3656526A1B9A}" srcOrd="0" destOrd="0" parTransId="{BD0E0FAC-A1AB-4CDF-BA94-145DC8A33273}" sibTransId="{5C75DADA-20F6-4103-8580-51086D0E99AA}"/>
    <dgm:cxn modelId="{9EC1D517-CA7B-4AFC-AD7A-377D31587C9A}" srcId="{DA53D01F-F0C6-4F60-A5F1-ECFB3E910CF3}" destId="{5A96C84D-4944-4A26-A0CC-0DB33F29A665}" srcOrd="1" destOrd="0" parTransId="{C9974ADF-CA42-48DE-9701-E9B001053B5E}" sibTransId="{9D0C480E-60BA-444A-9E43-AAA7B1F92985}"/>
    <dgm:cxn modelId="{EAE906D6-1CC6-47EA-AE6B-F1082DF27E89}" type="presOf" srcId="{0573BCB3-5408-4F40-9114-1D258168124A}" destId="{C14D2C68-2D58-4DF9-A5A8-314DD2E38F2D}" srcOrd="0" destOrd="0" presId="urn:microsoft.com/office/officeart/2005/8/layout/chevron2"/>
    <dgm:cxn modelId="{A9D09800-DD7B-4EEC-A788-12AB6CA6DFDE}" srcId="{5A96C84D-4944-4A26-A0CC-0DB33F29A665}" destId="{0573BCB3-5408-4F40-9114-1D258168124A}" srcOrd="0" destOrd="0" parTransId="{5E8BFBF5-2D51-42AA-A2B0-2EF43CB21EEC}" sibTransId="{4D8497F7-6DEB-4249-9FC8-81B7D2D8A11C}"/>
    <dgm:cxn modelId="{D7D88627-EDB3-4BF8-92F1-1F4542585180}" srcId="{DA53D01F-F0C6-4F60-A5F1-ECFB3E910CF3}" destId="{CA414E9C-26B0-45A8-9A4F-57A6FA5501DD}" srcOrd="0" destOrd="0" parTransId="{056CF49E-08F4-4B03-AC0B-B407FF1A509A}" sibTransId="{A125C2CE-BDD5-410C-B2BA-56765F2566B6}"/>
    <dgm:cxn modelId="{40919B63-8F66-47A3-923E-076B2B835ED8}" type="presOf" srcId="{DA53D01F-F0C6-4F60-A5F1-ECFB3E910CF3}" destId="{3EB3A777-3D94-4D78-BAF2-DEEAF5FC6F32}" srcOrd="0" destOrd="0" presId="urn:microsoft.com/office/officeart/2005/8/layout/chevron2"/>
    <dgm:cxn modelId="{BBFACECB-9309-4F16-B310-9D5370D7610B}" type="presOf" srcId="{CA414E9C-26B0-45A8-9A4F-57A6FA5501DD}" destId="{33F64AB7-42E0-47A0-9729-288D40C44003}" srcOrd="0" destOrd="0" presId="urn:microsoft.com/office/officeart/2005/8/layout/chevron2"/>
    <dgm:cxn modelId="{7F7CB4EB-4C72-4902-82E9-57E5188B9CCD}" type="presParOf" srcId="{3EB3A777-3D94-4D78-BAF2-DEEAF5FC6F32}" destId="{A5111A67-9318-44CE-A55F-520ED8D65F7B}" srcOrd="0" destOrd="0" presId="urn:microsoft.com/office/officeart/2005/8/layout/chevron2"/>
    <dgm:cxn modelId="{384DBCD9-8331-4C13-BE83-BD3EE8179735}" type="presParOf" srcId="{A5111A67-9318-44CE-A55F-520ED8D65F7B}" destId="{33F64AB7-42E0-47A0-9729-288D40C44003}" srcOrd="0" destOrd="0" presId="urn:microsoft.com/office/officeart/2005/8/layout/chevron2"/>
    <dgm:cxn modelId="{A89D796A-6544-42AA-9A03-2306424AC892}" type="presParOf" srcId="{A5111A67-9318-44CE-A55F-520ED8D65F7B}" destId="{25AC8780-F6B3-44E5-B43C-3EB8BF140D53}" srcOrd="1" destOrd="0" presId="urn:microsoft.com/office/officeart/2005/8/layout/chevron2"/>
    <dgm:cxn modelId="{7D34EEB5-2571-4113-AE5D-1DDF41AE2541}" type="presParOf" srcId="{3EB3A777-3D94-4D78-BAF2-DEEAF5FC6F32}" destId="{0CF3266D-6D31-429B-BE99-B4A623278A8D}" srcOrd="1" destOrd="0" presId="urn:microsoft.com/office/officeart/2005/8/layout/chevron2"/>
    <dgm:cxn modelId="{9A1311F5-9713-47F5-94D1-78C38D4C21BC}" type="presParOf" srcId="{3EB3A777-3D94-4D78-BAF2-DEEAF5FC6F32}" destId="{2CA5753B-B987-4644-AD12-95D53D0C4F2B}" srcOrd="2" destOrd="0" presId="urn:microsoft.com/office/officeart/2005/8/layout/chevron2"/>
    <dgm:cxn modelId="{70A62400-BED7-4041-9C10-660FAE368676}" type="presParOf" srcId="{2CA5753B-B987-4644-AD12-95D53D0C4F2B}" destId="{8E2730DF-D5AB-4AAB-A4D3-F038715551D4}" srcOrd="0" destOrd="0" presId="urn:microsoft.com/office/officeart/2005/8/layout/chevron2"/>
    <dgm:cxn modelId="{B702080A-9D20-4AAC-B3D2-132643AACBE8}" type="presParOf" srcId="{2CA5753B-B987-4644-AD12-95D53D0C4F2B}" destId="{C14D2C68-2D58-4DF9-A5A8-314DD2E38F2D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DA53D01F-F0C6-4F60-A5F1-ECFB3E910CF3}" type="doc">
      <dgm:prSet loTypeId="urn:microsoft.com/office/officeart/2005/8/layout/chevron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CA414E9C-26B0-45A8-9A4F-57A6FA5501DD}">
      <dgm:prSet phldrT="[Text]"/>
      <dgm:spPr/>
      <dgm:t>
        <a:bodyPr/>
        <a:lstStyle/>
        <a:p>
          <a:r>
            <a:rPr lang="en-US" dirty="0" smtClean="0"/>
            <a:t>General</a:t>
          </a:r>
          <a:endParaRPr lang="en-US" dirty="0"/>
        </a:p>
      </dgm:t>
    </dgm:pt>
    <dgm:pt modelId="{056CF49E-08F4-4B03-AC0B-B407FF1A509A}" type="parTrans" cxnId="{D7D88627-EDB3-4BF8-92F1-1F4542585180}">
      <dgm:prSet/>
      <dgm:spPr/>
      <dgm:t>
        <a:bodyPr/>
        <a:lstStyle/>
        <a:p>
          <a:endParaRPr lang="en-US"/>
        </a:p>
      </dgm:t>
    </dgm:pt>
    <dgm:pt modelId="{A125C2CE-BDD5-410C-B2BA-56765F2566B6}" type="sibTrans" cxnId="{D7D88627-EDB3-4BF8-92F1-1F4542585180}">
      <dgm:prSet/>
      <dgm:spPr/>
      <dgm:t>
        <a:bodyPr/>
        <a:lstStyle/>
        <a:p>
          <a:endParaRPr lang="en-US"/>
        </a:p>
      </dgm:t>
    </dgm:pt>
    <dgm:pt modelId="{87671879-3B33-45F6-BF16-3656526A1B9A}">
      <dgm:prSet phldrT="[Text]"/>
      <dgm:spPr/>
      <dgm:t>
        <a:bodyPr/>
        <a:lstStyle/>
        <a:p>
          <a:r>
            <a:rPr lang="en-US" dirty="0" smtClean="0"/>
            <a:t>Lofty administrative goals often require some form of mandate; and we have one!</a:t>
          </a:r>
          <a:endParaRPr lang="en-US" dirty="0"/>
        </a:p>
      </dgm:t>
    </dgm:pt>
    <dgm:pt modelId="{BD0E0FAC-A1AB-4CDF-BA94-145DC8A33273}" type="parTrans" cxnId="{5B1007EA-0A4F-4A96-85D4-154768344765}">
      <dgm:prSet/>
      <dgm:spPr/>
      <dgm:t>
        <a:bodyPr/>
        <a:lstStyle/>
        <a:p>
          <a:endParaRPr lang="en-US"/>
        </a:p>
      </dgm:t>
    </dgm:pt>
    <dgm:pt modelId="{5C75DADA-20F6-4103-8580-51086D0E99AA}" type="sibTrans" cxnId="{5B1007EA-0A4F-4A96-85D4-154768344765}">
      <dgm:prSet/>
      <dgm:spPr/>
      <dgm:t>
        <a:bodyPr/>
        <a:lstStyle/>
        <a:p>
          <a:endParaRPr lang="en-US"/>
        </a:p>
      </dgm:t>
    </dgm:pt>
    <dgm:pt modelId="{5A96C84D-4944-4A26-A0CC-0DB33F29A665}">
      <dgm:prSet phldrT="[Text]"/>
      <dgm:spPr/>
      <dgm:t>
        <a:bodyPr/>
        <a:lstStyle/>
        <a:p>
          <a:r>
            <a:rPr lang="en-US" dirty="0" smtClean="0"/>
            <a:t>Technical</a:t>
          </a:r>
          <a:endParaRPr lang="en-US" dirty="0"/>
        </a:p>
      </dgm:t>
    </dgm:pt>
    <dgm:pt modelId="{C9974ADF-CA42-48DE-9701-E9B001053B5E}" type="parTrans" cxnId="{9EC1D517-CA7B-4AFC-AD7A-377D31587C9A}">
      <dgm:prSet/>
      <dgm:spPr/>
      <dgm:t>
        <a:bodyPr/>
        <a:lstStyle/>
        <a:p>
          <a:endParaRPr lang="en-US"/>
        </a:p>
      </dgm:t>
    </dgm:pt>
    <dgm:pt modelId="{9D0C480E-60BA-444A-9E43-AAA7B1F92985}" type="sibTrans" cxnId="{9EC1D517-CA7B-4AFC-AD7A-377D31587C9A}">
      <dgm:prSet/>
      <dgm:spPr/>
      <dgm:t>
        <a:bodyPr/>
        <a:lstStyle/>
        <a:p>
          <a:endParaRPr lang="en-US"/>
        </a:p>
      </dgm:t>
    </dgm:pt>
    <dgm:pt modelId="{0573BCB3-5408-4F40-9114-1D258168124A}">
      <dgm:prSet phldrT="[Text]"/>
      <dgm:spPr/>
      <dgm:t>
        <a:bodyPr/>
        <a:lstStyle/>
        <a:p>
          <a:r>
            <a:rPr lang="en-US" dirty="0" smtClean="0"/>
            <a:t>$15 million is nothing to sneeze at!  Savings are generated by volume, and training is available.</a:t>
          </a:r>
          <a:endParaRPr lang="en-US" dirty="0"/>
        </a:p>
      </dgm:t>
    </dgm:pt>
    <dgm:pt modelId="{5E8BFBF5-2D51-42AA-A2B0-2EF43CB21EEC}" type="parTrans" cxnId="{A9D09800-DD7B-4EEC-A788-12AB6CA6DFDE}">
      <dgm:prSet/>
      <dgm:spPr/>
      <dgm:t>
        <a:bodyPr/>
        <a:lstStyle/>
        <a:p>
          <a:endParaRPr lang="en-US"/>
        </a:p>
      </dgm:t>
    </dgm:pt>
    <dgm:pt modelId="{4D8497F7-6DEB-4249-9FC8-81B7D2D8A11C}" type="sibTrans" cxnId="{A9D09800-DD7B-4EEC-A788-12AB6CA6DFDE}">
      <dgm:prSet/>
      <dgm:spPr/>
      <dgm:t>
        <a:bodyPr/>
        <a:lstStyle/>
        <a:p>
          <a:endParaRPr lang="en-US"/>
        </a:p>
      </dgm:t>
    </dgm:pt>
    <dgm:pt modelId="{3EB3A777-3D94-4D78-BAF2-DEEAF5FC6F32}" type="pres">
      <dgm:prSet presAssocID="{DA53D01F-F0C6-4F60-A5F1-ECFB3E910CF3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A5111A67-9318-44CE-A55F-520ED8D65F7B}" type="pres">
      <dgm:prSet presAssocID="{CA414E9C-26B0-45A8-9A4F-57A6FA5501DD}" presName="composite" presStyleCnt="0"/>
      <dgm:spPr/>
    </dgm:pt>
    <dgm:pt modelId="{33F64AB7-42E0-47A0-9729-288D40C44003}" type="pres">
      <dgm:prSet presAssocID="{CA414E9C-26B0-45A8-9A4F-57A6FA5501DD}" presName="parentText" presStyleLbl="alignNode1" presStyleIdx="0" presStyleCnt="2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5AC8780-F6B3-44E5-B43C-3EB8BF140D53}" type="pres">
      <dgm:prSet presAssocID="{CA414E9C-26B0-45A8-9A4F-57A6FA5501DD}" presName="descendantText" presStyleLbl="alignAcc1" presStyleIdx="0" presStyleCnt="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CF3266D-6D31-429B-BE99-B4A623278A8D}" type="pres">
      <dgm:prSet presAssocID="{A125C2CE-BDD5-410C-B2BA-56765F2566B6}" presName="sp" presStyleCnt="0"/>
      <dgm:spPr/>
    </dgm:pt>
    <dgm:pt modelId="{2CA5753B-B987-4644-AD12-95D53D0C4F2B}" type="pres">
      <dgm:prSet presAssocID="{5A96C84D-4944-4A26-A0CC-0DB33F29A665}" presName="composite" presStyleCnt="0"/>
      <dgm:spPr/>
    </dgm:pt>
    <dgm:pt modelId="{8E2730DF-D5AB-4AAB-A4D3-F038715551D4}" type="pres">
      <dgm:prSet presAssocID="{5A96C84D-4944-4A26-A0CC-0DB33F29A665}" presName="parentText" presStyleLbl="alignNode1" presStyleIdx="1" presStyleCnt="2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14D2C68-2D58-4DF9-A5A8-314DD2E38F2D}" type="pres">
      <dgm:prSet presAssocID="{5A96C84D-4944-4A26-A0CC-0DB33F29A665}" presName="descendantText" presStyleLbl="alignAcc1" presStyleIdx="1" presStyleCnt="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AF79278B-550A-45E4-B436-959EBD28C649}" type="presOf" srcId="{CA414E9C-26B0-45A8-9A4F-57A6FA5501DD}" destId="{33F64AB7-42E0-47A0-9729-288D40C44003}" srcOrd="0" destOrd="0" presId="urn:microsoft.com/office/officeart/2005/8/layout/chevron2"/>
    <dgm:cxn modelId="{5B1007EA-0A4F-4A96-85D4-154768344765}" srcId="{CA414E9C-26B0-45A8-9A4F-57A6FA5501DD}" destId="{87671879-3B33-45F6-BF16-3656526A1B9A}" srcOrd="0" destOrd="0" parTransId="{BD0E0FAC-A1AB-4CDF-BA94-145DC8A33273}" sibTransId="{5C75DADA-20F6-4103-8580-51086D0E99AA}"/>
    <dgm:cxn modelId="{9EC1D517-CA7B-4AFC-AD7A-377D31587C9A}" srcId="{DA53D01F-F0C6-4F60-A5F1-ECFB3E910CF3}" destId="{5A96C84D-4944-4A26-A0CC-0DB33F29A665}" srcOrd="1" destOrd="0" parTransId="{C9974ADF-CA42-48DE-9701-E9B001053B5E}" sibTransId="{9D0C480E-60BA-444A-9E43-AAA7B1F92985}"/>
    <dgm:cxn modelId="{B8DD901A-C212-4DFD-B1E0-AA558AD30224}" type="presOf" srcId="{DA53D01F-F0C6-4F60-A5F1-ECFB3E910CF3}" destId="{3EB3A777-3D94-4D78-BAF2-DEEAF5FC6F32}" srcOrd="0" destOrd="0" presId="urn:microsoft.com/office/officeart/2005/8/layout/chevron2"/>
    <dgm:cxn modelId="{A9D09800-DD7B-4EEC-A788-12AB6CA6DFDE}" srcId="{5A96C84D-4944-4A26-A0CC-0DB33F29A665}" destId="{0573BCB3-5408-4F40-9114-1D258168124A}" srcOrd="0" destOrd="0" parTransId="{5E8BFBF5-2D51-42AA-A2B0-2EF43CB21EEC}" sibTransId="{4D8497F7-6DEB-4249-9FC8-81B7D2D8A11C}"/>
    <dgm:cxn modelId="{E7AB3AE7-15E7-4547-AB28-AE362F63505E}" type="presOf" srcId="{0573BCB3-5408-4F40-9114-1D258168124A}" destId="{C14D2C68-2D58-4DF9-A5A8-314DD2E38F2D}" srcOrd="0" destOrd="0" presId="urn:microsoft.com/office/officeart/2005/8/layout/chevron2"/>
    <dgm:cxn modelId="{C29F63AC-A12A-4B32-BE24-9072AFADCB4E}" type="presOf" srcId="{5A96C84D-4944-4A26-A0CC-0DB33F29A665}" destId="{8E2730DF-D5AB-4AAB-A4D3-F038715551D4}" srcOrd="0" destOrd="0" presId="urn:microsoft.com/office/officeart/2005/8/layout/chevron2"/>
    <dgm:cxn modelId="{D7D88627-EDB3-4BF8-92F1-1F4542585180}" srcId="{DA53D01F-F0C6-4F60-A5F1-ECFB3E910CF3}" destId="{CA414E9C-26B0-45A8-9A4F-57A6FA5501DD}" srcOrd="0" destOrd="0" parTransId="{056CF49E-08F4-4B03-AC0B-B407FF1A509A}" sibTransId="{A125C2CE-BDD5-410C-B2BA-56765F2566B6}"/>
    <dgm:cxn modelId="{5AEF1B63-9053-4E27-B8D0-579CA2CAE6E5}" type="presOf" srcId="{87671879-3B33-45F6-BF16-3656526A1B9A}" destId="{25AC8780-F6B3-44E5-B43C-3EB8BF140D53}" srcOrd="0" destOrd="0" presId="urn:microsoft.com/office/officeart/2005/8/layout/chevron2"/>
    <dgm:cxn modelId="{E67FB6DF-208F-4FE6-8125-A0BC259C083F}" type="presParOf" srcId="{3EB3A777-3D94-4D78-BAF2-DEEAF5FC6F32}" destId="{A5111A67-9318-44CE-A55F-520ED8D65F7B}" srcOrd="0" destOrd="0" presId="urn:microsoft.com/office/officeart/2005/8/layout/chevron2"/>
    <dgm:cxn modelId="{7DC61AB4-868B-4254-A955-156EDC55B38B}" type="presParOf" srcId="{A5111A67-9318-44CE-A55F-520ED8D65F7B}" destId="{33F64AB7-42E0-47A0-9729-288D40C44003}" srcOrd="0" destOrd="0" presId="urn:microsoft.com/office/officeart/2005/8/layout/chevron2"/>
    <dgm:cxn modelId="{0FA42427-103C-4BD7-87BE-1C1D1B986136}" type="presParOf" srcId="{A5111A67-9318-44CE-A55F-520ED8D65F7B}" destId="{25AC8780-F6B3-44E5-B43C-3EB8BF140D53}" srcOrd="1" destOrd="0" presId="urn:microsoft.com/office/officeart/2005/8/layout/chevron2"/>
    <dgm:cxn modelId="{AEAF7C0A-E72C-4F73-ACF7-74EC033F4C1B}" type="presParOf" srcId="{3EB3A777-3D94-4D78-BAF2-DEEAF5FC6F32}" destId="{0CF3266D-6D31-429B-BE99-B4A623278A8D}" srcOrd="1" destOrd="0" presId="urn:microsoft.com/office/officeart/2005/8/layout/chevron2"/>
    <dgm:cxn modelId="{F6AF9720-3E84-4937-82B9-7148FB03840D}" type="presParOf" srcId="{3EB3A777-3D94-4D78-BAF2-DEEAF5FC6F32}" destId="{2CA5753B-B987-4644-AD12-95D53D0C4F2B}" srcOrd="2" destOrd="0" presId="urn:microsoft.com/office/officeart/2005/8/layout/chevron2"/>
    <dgm:cxn modelId="{A27C1516-F1D5-47C6-A5F7-A98C4DF3568F}" type="presParOf" srcId="{2CA5753B-B987-4644-AD12-95D53D0C4F2B}" destId="{8E2730DF-D5AB-4AAB-A4D3-F038715551D4}" srcOrd="0" destOrd="0" presId="urn:microsoft.com/office/officeart/2005/8/layout/chevron2"/>
    <dgm:cxn modelId="{B5A7F9A9-A270-40FA-8A0B-75FCEEADA8A6}" type="presParOf" srcId="{2CA5753B-B987-4644-AD12-95D53D0C4F2B}" destId="{C14D2C68-2D58-4DF9-A5A8-314DD2E38F2D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DA53D01F-F0C6-4F60-A5F1-ECFB3E910CF3}" type="doc">
      <dgm:prSet loTypeId="urn:microsoft.com/office/officeart/2005/8/layout/chevron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CA414E9C-26B0-45A8-9A4F-57A6FA5501DD}">
      <dgm:prSet phldrT="[Text]"/>
      <dgm:spPr/>
      <dgm:t>
        <a:bodyPr/>
        <a:lstStyle/>
        <a:p>
          <a:r>
            <a:rPr lang="en-US" dirty="0" smtClean="0"/>
            <a:t>General</a:t>
          </a:r>
          <a:endParaRPr lang="en-US" dirty="0"/>
        </a:p>
      </dgm:t>
    </dgm:pt>
    <dgm:pt modelId="{056CF49E-08F4-4B03-AC0B-B407FF1A509A}" type="parTrans" cxnId="{D7D88627-EDB3-4BF8-92F1-1F4542585180}">
      <dgm:prSet/>
      <dgm:spPr/>
      <dgm:t>
        <a:bodyPr/>
        <a:lstStyle/>
        <a:p>
          <a:endParaRPr lang="en-US"/>
        </a:p>
      </dgm:t>
    </dgm:pt>
    <dgm:pt modelId="{A125C2CE-BDD5-410C-B2BA-56765F2566B6}" type="sibTrans" cxnId="{D7D88627-EDB3-4BF8-92F1-1F4542585180}">
      <dgm:prSet/>
      <dgm:spPr/>
      <dgm:t>
        <a:bodyPr/>
        <a:lstStyle/>
        <a:p>
          <a:endParaRPr lang="en-US"/>
        </a:p>
      </dgm:t>
    </dgm:pt>
    <dgm:pt modelId="{87671879-3B33-45F6-BF16-3656526A1B9A}">
      <dgm:prSet phldrT="[Text]"/>
      <dgm:spPr/>
      <dgm:t>
        <a:bodyPr/>
        <a:lstStyle/>
        <a:p>
          <a:r>
            <a:rPr lang="en-US" dirty="0" smtClean="0"/>
            <a:t>Regents meet 6 times per year; very little time between meetings  </a:t>
          </a:r>
          <a:endParaRPr lang="en-US" dirty="0"/>
        </a:p>
      </dgm:t>
    </dgm:pt>
    <dgm:pt modelId="{BD0E0FAC-A1AB-4CDF-BA94-145DC8A33273}" type="parTrans" cxnId="{5B1007EA-0A4F-4A96-85D4-154768344765}">
      <dgm:prSet/>
      <dgm:spPr/>
      <dgm:t>
        <a:bodyPr/>
        <a:lstStyle/>
        <a:p>
          <a:endParaRPr lang="en-US"/>
        </a:p>
      </dgm:t>
    </dgm:pt>
    <dgm:pt modelId="{5C75DADA-20F6-4103-8580-51086D0E99AA}" type="sibTrans" cxnId="{5B1007EA-0A4F-4A96-85D4-154768344765}">
      <dgm:prSet/>
      <dgm:spPr/>
      <dgm:t>
        <a:bodyPr/>
        <a:lstStyle/>
        <a:p>
          <a:endParaRPr lang="en-US"/>
        </a:p>
      </dgm:t>
    </dgm:pt>
    <dgm:pt modelId="{5A96C84D-4944-4A26-A0CC-0DB33F29A665}">
      <dgm:prSet phldrT="[Text]"/>
      <dgm:spPr/>
      <dgm:t>
        <a:bodyPr/>
        <a:lstStyle/>
        <a:p>
          <a:r>
            <a:rPr lang="en-US" dirty="0" smtClean="0"/>
            <a:t>Technical</a:t>
          </a:r>
          <a:endParaRPr lang="en-US" dirty="0"/>
        </a:p>
      </dgm:t>
    </dgm:pt>
    <dgm:pt modelId="{C9974ADF-CA42-48DE-9701-E9B001053B5E}" type="parTrans" cxnId="{9EC1D517-CA7B-4AFC-AD7A-377D31587C9A}">
      <dgm:prSet/>
      <dgm:spPr/>
      <dgm:t>
        <a:bodyPr/>
        <a:lstStyle/>
        <a:p>
          <a:endParaRPr lang="en-US"/>
        </a:p>
      </dgm:t>
    </dgm:pt>
    <dgm:pt modelId="{9D0C480E-60BA-444A-9E43-AAA7B1F92985}" type="sibTrans" cxnId="{9EC1D517-CA7B-4AFC-AD7A-377D31587C9A}">
      <dgm:prSet/>
      <dgm:spPr/>
      <dgm:t>
        <a:bodyPr/>
        <a:lstStyle/>
        <a:p>
          <a:endParaRPr lang="en-US"/>
        </a:p>
      </dgm:t>
    </dgm:pt>
    <dgm:pt modelId="{0573BCB3-5408-4F40-9114-1D258168124A}">
      <dgm:prSet phldrT="[Text]"/>
      <dgm:spPr/>
      <dgm:t>
        <a:bodyPr/>
        <a:lstStyle/>
        <a:p>
          <a:r>
            <a:rPr lang="en-US" dirty="0" smtClean="0"/>
            <a:t>Borrowing money from the bond market is how we finance things at UC</a:t>
          </a:r>
          <a:endParaRPr lang="en-US" dirty="0"/>
        </a:p>
      </dgm:t>
    </dgm:pt>
    <dgm:pt modelId="{5E8BFBF5-2D51-42AA-A2B0-2EF43CB21EEC}" type="parTrans" cxnId="{A9D09800-DD7B-4EEC-A788-12AB6CA6DFDE}">
      <dgm:prSet/>
      <dgm:spPr/>
      <dgm:t>
        <a:bodyPr/>
        <a:lstStyle/>
        <a:p>
          <a:endParaRPr lang="en-US"/>
        </a:p>
      </dgm:t>
    </dgm:pt>
    <dgm:pt modelId="{4D8497F7-6DEB-4249-9FC8-81B7D2D8A11C}" type="sibTrans" cxnId="{A9D09800-DD7B-4EEC-A788-12AB6CA6DFDE}">
      <dgm:prSet/>
      <dgm:spPr/>
      <dgm:t>
        <a:bodyPr/>
        <a:lstStyle/>
        <a:p>
          <a:endParaRPr lang="en-US"/>
        </a:p>
      </dgm:t>
    </dgm:pt>
    <dgm:pt modelId="{3EB3A777-3D94-4D78-BAF2-DEEAF5FC6F32}" type="pres">
      <dgm:prSet presAssocID="{DA53D01F-F0C6-4F60-A5F1-ECFB3E910CF3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A5111A67-9318-44CE-A55F-520ED8D65F7B}" type="pres">
      <dgm:prSet presAssocID="{CA414E9C-26B0-45A8-9A4F-57A6FA5501DD}" presName="composite" presStyleCnt="0"/>
      <dgm:spPr/>
    </dgm:pt>
    <dgm:pt modelId="{33F64AB7-42E0-47A0-9729-288D40C44003}" type="pres">
      <dgm:prSet presAssocID="{CA414E9C-26B0-45A8-9A4F-57A6FA5501DD}" presName="parentText" presStyleLbl="alignNode1" presStyleIdx="0" presStyleCnt="2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5AC8780-F6B3-44E5-B43C-3EB8BF140D53}" type="pres">
      <dgm:prSet presAssocID="{CA414E9C-26B0-45A8-9A4F-57A6FA5501DD}" presName="descendantText" presStyleLbl="alignAcc1" presStyleIdx="0" presStyleCnt="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CF3266D-6D31-429B-BE99-B4A623278A8D}" type="pres">
      <dgm:prSet presAssocID="{A125C2CE-BDD5-410C-B2BA-56765F2566B6}" presName="sp" presStyleCnt="0"/>
      <dgm:spPr/>
    </dgm:pt>
    <dgm:pt modelId="{2CA5753B-B987-4644-AD12-95D53D0C4F2B}" type="pres">
      <dgm:prSet presAssocID="{5A96C84D-4944-4A26-A0CC-0DB33F29A665}" presName="composite" presStyleCnt="0"/>
      <dgm:spPr/>
    </dgm:pt>
    <dgm:pt modelId="{8E2730DF-D5AB-4AAB-A4D3-F038715551D4}" type="pres">
      <dgm:prSet presAssocID="{5A96C84D-4944-4A26-A0CC-0DB33F29A665}" presName="parentText" presStyleLbl="alignNode1" presStyleIdx="1" presStyleCnt="2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14D2C68-2D58-4DF9-A5A8-314DD2E38F2D}" type="pres">
      <dgm:prSet presAssocID="{5A96C84D-4944-4A26-A0CC-0DB33F29A665}" presName="descendantText" presStyleLbl="alignAcc1" presStyleIdx="1" presStyleCnt="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9EC1D517-CA7B-4AFC-AD7A-377D31587C9A}" srcId="{DA53D01F-F0C6-4F60-A5F1-ECFB3E910CF3}" destId="{5A96C84D-4944-4A26-A0CC-0DB33F29A665}" srcOrd="1" destOrd="0" parTransId="{C9974ADF-CA42-48DE-9701-E9B001053B5E}" sibTransId="{9D0C480E-60BA-444A-9E43-AAA7B1F92985}"/>
    <dgm:cxn modelId="{1638F6C4-FCAB-446A-9E1B-CDF1D5E9853C}" type="presOf" srcId="{DA53D01F-F0C6-4F60-A5F1-ECFB3E910CF3}" destId="{3EB3A777-3D94-4D78-BAF2-DEEAF5FC6F32}" srcOrd="0" destOrd="0" presId="urn:microsoft.com/office/officeart/2005/8/layout/chevron2"/>
    <dgm:cxn modelId="{DDDE6C7A-2710-422D-B795-B2A28E1A4152}" type="presOf" srcId="{0573BCB3-5408-4F40-9114-1D258168124A}" destId="{C14D2C68-2D58-4DF9-A5A8-314DD2E38F2D}" srcOrd="0" destOrd="0" presId="urn:microsoft.com/office/officeart/2005/8/layout/chevron2"/>
    <dgm:cxn modelId="{5B1007EA-0A4F-4A96-85D4-154768344765}" srcId="{CA414E9C-26B0-45A8-9A4F-57A6FA5501DD}" destId="{87671879-3B33-45F6-BF16-3656526A1B9A}" srcOrd="0" destOrd="0" parTransId="{BD0E0FAC-A1AB-4CDF-BA94-145DC8A33273}" sibTransId="{5C75DADA-20F6-4103-8580-51086D0E99AA}"/>
    <dgm:cxn modelId="{DD2B5EB5-8D8D-47FA-BA0D-2EA26B38AE61}" type="presOf" srcId="{87671879-3B33-45F6-BF16-3656526A1B9A}" destId="{25AC8780-F6B3-44E5-B43C-3EB8BF140D53}" srcOrd="0" destOrd="0" presId="urn:microsoft.com/office/officeart/2005/8/layout/chevron2"/>
    <dgm:cxn modelId="{D7D88627-EDB3-4BF8-92F1-1F4542585180}" srcId="{DA53D01F-F0C6-4F60-A5F1-ECFB3E910CF3}" destId="{CA414E9C-26B0-45A8-9A4F-57A6FA5501DD}" srcOrd="0" destOrd="0" parTransId="{056CF49E-08F4-4B03-AC0B-B407FF1A509A}" sibTransId="{A125C2CE-BDD5-410C-B2BA-56765F2566B6}"/>
    <dgm:cxn modelId="{A9D09800-DD7B-4EEC-A788-12AB6CA6DFDE}" srcId="{5A96C84D-4944-4A26-A0CC-0DB33F29A665}" destId="{0573BCB3-5408-4F40-9114-1D258168124A}" srcOrd="0" destOrd="0" parTransId="{5E8BFBF5-2D51-42AA-A2B0-2EF43CB21EEC}" sibTransId="{4D8497F7-6DEB-4249-9FC8-81B7D2D8A11C}"/>
    <dgm:cxn modelId="{C058BFB8-E532-4555-8E21-0FD7385E73BC}" type="presOf" srcId="{CA414E9C-26B0-45A8-9A4F-57A6FA5501DD}" destId="{33F64AB7-42E0-47A0-9729-288D40C44003}" srcOrd="0" destOrd="0" presId="urn:microsoft.com/office/officeart/2005/8/layout/chevron2"/>
    <dgm:cxn modelId="{E5CB536C-EEDA-4C04-8F2D-CD2C13B57DEC}" type="presOf" srcId="{5A96C84D-4944-4A26-A0CC-0DB33F29A665}" destId="{8E2730DF-D5AB-4AAB-A4D3-F038715551D4}" srcOrd="0" destOrd="0" presId="urn:microsoft.com/office/officeart/2005/8/layout/chevron2"/>
    <dgm:cxn modelId="{6E9A3680-70B9-48A9-B2FF-CBA51D9800A9}" type="presParOf" srcId="{3EB3A777-3D94-4D78-BAF2-DEEAF5FC6F32}" destId="{A5111A67-9318-44CE-A55F-520ED8D65F7B}" srcOrd="0" destOrd="0" presId="urn:microsoft.com/office/officeart/2005/8/layout/chevron2"/>
    <dgm:cxn modelId="{875ACB99-3A7A-47D6-8BFB-A46139A41B81}" type="presParOf" srcId="{A5111A67-9318-44CE-A55F-520ED8D65F7B}" destId="{33F64AB7-42E0-47A0-9729-288D40C44003}" srcOrd="0" destOrd="0" presId="urn:microsoft.com/office/officeart/2005/8/layout/chevron2"/>
    <dgm:cxn modelId="{A9A0880E-5F20-49CD-B1E1-6FCFB336674A}" type="presParOf" srcId="{A5111A67-9318-44CE-A55F-520ED8D65F7B}" destId="{25AC8780-F6B3-44E5-B43C-3EB8BF140D53}" srcOrd="1" destOrd="0" presId="urn:microsoft.com/office/officeart/2005/8/layout/chevron2"/>
    <dgm:cxn modelId="{BD9778FC-3A3E-4A52-9A90-C5B8021949CD}" type="presParOf" srcId="{3EB3A777-3D94-4D78-BAF2-DEEAF5FC6F32}" destId="{0CF3266D-6D31-429B-BE99-B4A623278A8D}" srcOrd="1" destOrd="0" presId="urn:microsoft.com/office/officeart/2005/8/layout/chevron2"/>
    <dgm:cxn modelId="{3620BCD8-A3B1-4D63-9837-E04D3A2A28FB}" type="presParOf" srcId="{3EB3A777-3D94-4D78-BAF2-DEEAF5FC6F32}" destId="{2CA5753B-B987-4644-AD12-95D53D0C4F2B}" srcOrd="2" destOrd="0" presId="urn:microsoft.com/office/officeart/2005/8/layout/chevron2"/>
    <dgm:cxn modelId="{4ED5876A-9BD2-429C-A1F1-EBEC13B212C5}" type="presParOf" srcId="{2CA5753B-B987-4644-AD12-95D53D0C4F2B}" destId="{8E2730DF-D5AB-4AAB-A4D3-F038715551D4}" srcOrd="0" destOrd="0" presId="urn:microsoft.com/office/officeart/2005/8/layout/chevron2"/>
    <dgm:cxn modelId="{3A66FC31-507F-4EA5-950E-7117315EDCA1}" type="presParOf" srcId="{2CA5753B-B987-4644-AD12-95D53D0C4F2B}" destId="{C14D2C68-2D58-4DF9-A5A8-314DD2E38F2D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3F64AB7-42E0-47A0-9729-288D40C44003}">
      <dsp:nvSpPr>
        <dsp:cNvPr id="0" name=""/>
        <dsp:cNvSpPr/>
      </dsp:nvSpPr>
      <dsp:spPr>
        <a:xfrm rot="5400000">
          <a:off x="-356234" y="358824"/>
          <a:ext cx="2374900" cy="1662430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lvl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000" kern="1200" dirty="0" smtClean="0"/>
            <a:t>General</a:t>
          </a:r>
          <a:endParaRPr lang="en-US" sz="3000" kern="1200" dirty="0"/>
        </a:p>
      </dsp:txBody>
      <dsp:txXfrm rot="-5400000">
        <a:off x="1" y="833804"/>
        <a:ext cx="1662430" cy="712470"/>
      </dsp:txXfrm>
    </dsp:sp>
    <dsp:sp modelId="{25AC8780-F6B3-44E5-B43C-3EB8BF140D53}">
      <dsp:nvSpPr>
        <dsp:cNvPr id="0" name=""/>
        <dsp:cNvSpPr/>
      </dsp:nvSpPr>
      <dsp:spPr>
        <a:xfrm rot="5400000">
          <a:off x="3412172" y="-1747152"/>
          <a:ext cx="1543685" cy="5043170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7584" tIns="20320" rIns="20320" bIns="20320" numCol="1" spcCol="1270" anchor="ctr" anchorCtr="0">
          <a:noAutofit/>
        </a:bodyPr>
        <a:lstStyle/>
        <a:p>
          <a:pPr marL="285750" lvl="1" indent="-285750" algn="l" defTabSz="1422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3200" kern="1200" dirty="0" smtClean="0"/>
            <a:t>No one will ever know </a:t>
          </a:r>
          <a:r>
            <a:rPr lang="en-US" sz="3200" i="1" kern="1200" dirty="0" smtClean="0"/>
            <a:t>all</a:t>
          </a:r>
          <a:r>
            <a:rPr lang="en-US" sz="3200" kern="1200" dirty="0" smtClean="0"/>
            <a:t> the risk; it’s a huge universe</a:t>
          </a:r>
          <a:endParaRPr lang="en-US" sz="3200" kern="1200" dirty="0"/>
        </a:p>
      </dsp:txBody>
      <dsp:txXfrm rot="-5400000">
        <a:off x="1662430" y="77946"/>
        <a:ext cx="4967814" cy="1392973"/>
      </dsp:txXfrm>
    </dsp:sp>
    <dsp:sp modelId="{8E2730DF-D5AB-4AAB-A4D3-F038715551D4}">
      <dsp:nvSpPr>
        <dsp:cNvPr id="0" name=""/>
        <dsp:cNvSpPr/>
      </dsp:nvSpPr>
      <dsp:spPr>
        <a:xfrm rot="5400000">
          <a:off x="-356234" y="2449144"/>
          <a:ext cx="2374900" cy="1662430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lvl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000" kern="1200" dirty="0" smtClean="0"/>
            <a:t>Technical</a:t>
          </a:r>
          <a:endParaRPr lang="en-US" sz="3000" kern="1200" dirty="0"/>
        </a:p>
      </dsp:txBody>
      <dsp:txXfrm rot="-5400000">
        <a:off x="1" y="2924124"/>
        <a:ext cx="1662430" cy="712470"/>
      </dsp:txXfrm>
    </dsp:sp>
    <dsp:sp modelId="{C14D2C68-2D58-4DF9-A5A8-314DD2E38F2D}">
      <dsp:nvSpPr>
        <dsp:cNvPr id="0" name=""/>
        <dsp:cNvSpPr/>
      </dsp:nvSpPr>
      <dsp:spPr>
        <a:xfrm rot="5400000">
          <a:off x="3412172" y="343167"/>
          <a:ext cx="1543685" cy="5043170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7584" tIns="20320" rIns="20320" bIns="20320" numCol="1" spcCol="1270" anchor="ctr" anchorCtr="0">
          <a:noAutofit/>
        </a:bodyPr>
        <a:lstStyle/>
        <a:p>
          <a:pPr marL="285750" lvl="1" indent="-285750" algn="l" defTabSz="1422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3200" kern="1200" dirty="0" smtClean="0"/>
            <a:t>ERM has many powerful tools, namely the Risk Assessment</a:t>
          </a:r>
          <a:endParaRPr lang="en-US" sz="3200" kern="1200" dirty="0"/>
        </a:p>
      </dsp:txBody>
      <dsp:txXfrm rot="-5400000">
        <a:off x="1662430" y="2168265"/>
        <a:ext cx="4967814" cy="1392973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3F64AB7-42E0-47A0-9729-288D40C44003}">
      <dsp:nvSpPr>
        <dsp:cNvPr id="0" name=""/>
        <dsp:cNvSpPr/>
      </dsp:nvSpPr>
      <dsp:spPr>
        <a:xfrm rot="5400000">
          <a:off x="-356234" y="358824"/>
          <a:ext cx="2374900" cy="1662430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lvl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000" kern="1200" dirty="0" smtClean="0"/>
            <a:t>General</a:t>
          </a:r>
          <a:endParaRPr lang="en-US" sz="3000" kern="1200" dirty="0"/>
        </a:p>
      </dsp:txBody>
      <dsp:txXfrm rot="-5400000">
        <a:off x="1" y="833804"/>
        <a:ext cx="1662430" cy="712470"/>
      </dsp:txXfrm>
    </dsp:sp>
    <dsp:sp modelId="{25AC8780-F6B3-44E5-B43C-3EB8BF140D53}">
      <dsp:nvSpPr>
        <dsp:cNvPr id="0" name=""/>
        <dsp:cNvSpPr/>
      </dsp:nvSpPr>
      <dsp:spPr>
        <a:xfrm rot="5400000">
          <a:off x="3412172" y="-1747152"/>
          <a:ext cx="1543685" cy="5043170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15240" rIns="15240" bIns="15240" numCol="1" spcCol="1270" anchor="ctr" anchorCtr="0">
          <a:noAutofit/>
        </a:bodyPr>
        <a:lstStyle/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400" kern="1200" dirty="0" smtClean="0"/>
            <a:t>Lofty administrative goals often require some form of mandate; and we have one!</a:t>
          </a:r>
          <a:endParaRPr lang="en-US" sz="2400" kern="1200" dirty="0"/>
        </a:p>
      </dsp:txBody>
      <dsp:txXfrm rot="-5400000">
        <a:off x="1662430" y="77946"/>
        <a:ext cx="4967814" cy="1392973"/>
      </dsp:txXfrm>
    </dsp:sp>
    <dsp:sp modelId="{8E2730DF-D5AB-4AAB-A4D3-F038715551D4}">
      <dsp:nvSpPr>
        <dsp:cNvPr id="0" name=""/>
        <dsp:cNvSpPr/>
      </dsp:nvSpPr>
      <dsp:spPr>
        <a:xfrm rot="5400000">
          <a:off x="-356234" y="2449144"/>
          <a:ext cx="2374900" cy="1662430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lvl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000" kern="1200" dirty="0" smtClean="0"/>
            <a:t>Technical</a:t>
          </a:r>
          <a:endParaRPr lang="en-US" sz="3000" kern="1200" dirty="0"/>
        </a:p>
      </dsp:txBody>
      <dsp:txXfrm rot="-5400000">
        <a:off x="1" y="2924124"/>
        <a:ext cx="1662430" cy="712470"/>
      </dsp:txXfrm>
    </dsp:sp>
    <dsp:sp modelId="{C14D2C68-2D58-4DF9-A5A8-314DD2E38F2D}">
      <dsp:nvSpPr>
        <dsp:cNvPr id="0" name=""/>
        <dsp:cNvSpPr/>
      </dsp:nvSpPr>
      <dsp:spPr>
        <a:xfrm rot="5400000">
          <a:off x="3412172" y="343167"/>
          <a:ext cx="1543685" cy="5043170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15240" rIns="15240" bIns="15240" numCol="1" spcCol="1270" anchor="ctr" anchorCtr="0">
          <a:noAutofit/>
        </a:bodyPr>
        <a:lstStyle/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400" kern="1200" dirty="0" smtClean="0"/>
            <a:t>$15 million is nothing to sneeze at!  Savings are generated by volume, and training is available.</a:t>
          </a:r>
          <a:endParaRPr lang="en-US" sz="2400" kern="1200" dirty="0"/>
        </a:p>
      </dsp:txBody>
      <dsp:txXfrm rot="-5400000">
        <a:off x="1662430" y="2168265"/>
        <a:ext cx="4967814" cy="1392973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3F64AB7-42E0-47A0-9729-288D40C44003}">
      <dsp:nvSpPr>
        <dsp:cNvPr id="0" name=""/>
        <dsp:cNvSpPr/>
      </dsp:nvSpPr>
      <dsp:spPr>
        <a:xfrm rot="5400000">
          <a:off x="-356234" y="358824"/>
          <a:ext cx="2374900" cy="1662430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lvl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000" kern="1200" dirty="0" smtClean="0"/>
            <a:t>General</a:t>
          </a:r>
          <a:endParaRPr lang="en-US" sz="3000" kern="1200" dirty="0"/>
        </a:p>
      </dsp:txBody>
      <dsp:txXfrm rot="-5400000">
        <a:off x="1" y="833804"/>
        <a:ext cx="1662430" cy="712470"/>
      </dsp:txXfrm>
    </dsp:sp>
    <dsp:sp modelId="{25AC8780-F6B3-44E5-B43C-3EB8BF140D53}">
      <dsp:nvSpPr>
        <dsp:cNvPr id="0" name=""/>
        <dsp:cNvSpPr/>
      </dsp:nvSpPr>
      <dsp:spPr>
        <a:xfrm rot="5400000">
          <a:off x="3412172" y="-1747152"/>
          <a:ext cx="1543685" cy="5043170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7584" tIns="20320" rIns="20320" bIns="20320" numCol="1" spcCol="1270" anchor="ctr" anchorCtr="0">
          <a:noAutofit/>
        </a:bodyPr>
        <a:lstStyle/>
        <a:p>
          <a:pPr marL="285750" lvl="1" indent="-285750" algn="l" defTabSz="1422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3200" kern="1200" dirty="0" smtClean="0"/>
            <a:t>Regents meet 6 times per year; very little time between meetings  </a:t>
          </a:r>
          <a:endParaRPr lang="en-US" sz="3200" kern="1200" dirty="0"/>
        </a:p>
      </dsp:txBody>
      <dsp:txXfrm rot="-5400000">
        <a:off x="1662430" y="77946"/>
        <a:ext cx="4967814" cy="1392973"/>
      </dsp:txXfrm>
    </dsp:sp>
    <dsp:sp modelId="{8E2730DF-D5AB-4AAB-A4D3-F038715551D4}">
      <dsp:nvSpPr>
        <dsp:cNvPr id="0" name=""/>
        <dsp:cNvSpPr/>
      </dsp:nvSpPr>
      <dsp:spPr>
        <a:xfrm rot="5400000">
          <a:off x="-356234" y="2449144"/>
          <a:ext cx="2374900" cy="1662430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lvl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000" kern="1200" dirty="0" smtClean="0"/>
            <a:t>Technical</a:t>
          </a:r>
          <a:endParaRPr lang="en-US" sz="3000" kern="1200" dirty="0"/>
        </a:p>
      </dsp:txBody>
      <dsp:txXfrm rot="-5400000">
        <a:off x="1" y="2924124"/>
        <a:ext cx="1662430" cy="712470"/>
      </dsp:txXfrm>
    </dsp:sp>
    <dsp:sp modelId="{C14D2C68-2D58-4DF9-A5A8-314DD2E38F2D}">
      <dsp:nvSpPr>
        <dsp:cNvPr id="0" name=""/>
        <dsp:cNvSpPr/>
      </dsp:nvSpPr>
      <dsp:spPr>
        <a:xfrm rot="5400000">
          <a:off x="3412172" y="343167"/>
          <a:ext cx="1543685" cy="5043170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7584" tIns="20320" rIns="20320" bIns="20320" numCol="1" spcCol="1270" anchor="ctr" anchorCtr="0">
          <a:noAutofit/>
        </a:bodyPr>
        <a:lstStyle/>
        <a:p>
          <a:pPr marL="285750" lvl="1" indent="-285750" algn="l" defTabSz="1422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3200" kern="1200" dirty="0" smtClean="0"/>
            <a:t>Borrowing money from the bond market is how we finance things at UC</a:t>
          </a:r>
          <a:endParaRPr lang="en-US" sz="3200" kern="1200" dirty="0"/>
        </a:p>
      </dsp:txBody>
      <dsp:txXfrm rot="-5400000">
        <a:off x="1662430" y="2168265"/>
        <a:ext cx="4967814" cy="139297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1"/>
            <a:ext cx="3170238" cy="48101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vert="horz" wrap="square" lIns="48312" tIns="48312" rIns="48312" bIns="48312" numCol="1" anchor="t" anchorCtr="0" compatLnSpc="1">
            <a:prstTxWarp prst="textNoShape">
              <a:avLst/>
            </a:prstTxWarp>
          </a:bodyPr>
          <a:lstStyle>
            <a:lvl1pPr algn="l" defTabSz="965518" eaLnBrk="0" hangingPunct="0">
              <a:spcBef>
                <a:spcPct val="0"/>
              </a:spcBef>
              <a:defRPr sz="1300"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126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4144964" y="1"/>
            <a:ext cx="3170237" cy="48101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vert="horz" wrap="square" lIns="48312" tIns="48312" rIns="48312" bIns="48312" numCol="1" anchor="t" anchorCtr="0" compatLnSpc="1">
            <a:prstTxWarp prst="textNoShape">
              <a:avLst/>
            </a:prstTxWarp>
          </a:bodyPr>
          <a:lstStyle>
            <a:lvl1pPr algn="r" defTabSz="965518" eaLnBrk="0" hangingPunct="0">
              <a:spcBef>
                <a:spcPct val="0"/>
              </a:spcBef>
              <a:defRPr sz="1300"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126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120188"/>
            <a:ext cx="3170238" cy="481012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vert="horz" wrap="square" lIns="48312" tIns="48312" rIns="48312" bIns="48312" numCol="1" anchor="b" anchorCtr="0" compatLnSpc="1">
            <a:prstTxWarp prst="textNoShape">
              <a:avLst/>
            </a:prstTxWarp>
          </a:bodyPr>
          <a:lstStyle>
            <a:lvl1pPr algn="l" defTabSz="965518" eaLnBrk="0" hangingPunct="0">
              <a:spcBef>
                <a:spcPct val="0"/>
              </a:spcBef>
              <a:defRPr sz="1300"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126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4144964" y="9120188"/>
            <a:ext cx="3170237" cy="481012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vert="horz" wrap="square" lIns="48312" tIns="48312" rIns="48312" bIns="48312" numCol="1" anchor="b" anchorCtr="0" compatLnSpc="1">
            <a:prstTxWarp prst="textNoShape">
              <a:avLst/>
            </a:prstTxWarp>
          </a:bodyPr>
          <a:lstStyle>
            <a:lvl1pPr algn="r" defTabSz="965518" eaLnBrk="0" hangingPunct="0">
              <a:spcBef>
                <a:spcPct val="0"/>
              </a:spcBef>
              <a:defRPr sz="1300">
                <a:ea typeface="+mn-ea"/>
                <a:cs typeface="+mn-cs"/>
              </a:defRPr>
            </a:lvl1pPr>
          </a:lstStyle>
          <a:p>
            <a:pPr>
              <a:defRPr/>
            </a:pPr>
            <a:fld id="{07819F11-98C7-400B-A003-359249FE18C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646949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328738" y="719138"/>
            <a:ext cx="4660900" cy="36004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077" name="Rectangle 5"/>
          <p:cNvSpPr>
            <a:spLocks noGrp="1" noChangeArrowheads="1"/>
          </p:cNvSpPr>
          <p:nvPr>
            <p:ph type="body" sz="quarter" idx="3"/>
          </p:nvPr>
        </p:nvSpPr>
        <p:spPr bwMode="gray">
          <a:xfrm>
            <a:off x="974726" y="4559300"/>
            <a:ext cx="5365750" cy="432276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Bullet one</a:t>
            </a:r>
          </a:p>
          <a:p>
            <a:pPr lvl="2"/>
            <a:r>
              <a:rPr lang="en-US" noProof="0" smtClean="0"/>
              <a:t>bullet two</a:t>
            </a:r>
          </a:p>
          <a:p>
            <a:pPr lvl="3"/>
            <a:r>
              <a:rPr lang="en-US" noProof="0" smtClean="0"/>
              <a:t>bullet three</a:t>
            </a:r>
          </a:p>
          <a:p>
            <a:pPr lvl="4"/>
            <a:r>
              <a:rPr lang="en-US" noProof="0" smtClean="0"/>
              <a:t>bullet four</a:t>
            </a:r>
          </a:p>
        </p:txBody>
      </p:sp>
    </p:spTree>
    <p:extLst>
      <p:ext uri="{BB962C8B-B14F-4D97-AF65-F5344CB8AC3E}">
        <p14:creationId xmlns:p14="http://schemas.microsoft.com/office/powerpoint/2010/main" val="406608271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1019175" rtl="0" eaLnBrk="0" fontAlgn="base" hangingPunct="0">
      <a:lnSpc>
        <a:spcPts val="1500"/>
      </a:lnSpc>
      <a:spcBef>
        <a:spcPts val="700"/>
      </a:spcBef>
      <a:spcAft>
        <a:spcPct val="0"/>
      </a:spcAft>
      <a:buClr>
        <a:schemeClr val="bg2"/>
      </a:buClr>
      <a:buSzPct val="92000"/>
      <a:buFont typeface="Wingdings" pitchFamily="2" charset="2"/>
      <a:defRPr sz="1100" kern="1200">
        <a:solidFill>
          <a:schemeClr val="tx1"/>
        </a:solidFill>
        <a:latin typeface="Trebuchet MS" pitchFamily="34" charset="0"/>
        <a:ea typeface="+mn-ea"/>
        <a:cs typeface="+mn-cs"/>
      </a:defRPr>
    </a:lvl1pPr>
    <a:lvl2pPr marL="161925" indent="-160338" algn="l" defTabSz="1019175" rtl="0" eaLnBrk="0" fontAlgn="base" hangingPunct="0">
      <a:lnSpc>
        <a:spcPts val="1500"/>
      </a:lnSpc>
      <a:spcBef>
        <a:spcPts val="1500"/>
      </a:spcBef>
      <a:spcAft>
        <a:spcPct val="0"/>
      </a:spcAft>
      <a:buClr>
        <a:schemeClr val="bg2"/>
      </a:buClr>
      <a:buSzPct val="92000"/>
      <a:buFont typeface="Wingdings" pitchFamily="2" charset="2"/>
      <a:buChar char="n"/>
      <a:defRPr sz="1100" kern="1200">
        <a:solidFill>
          <a:schemeClr val="tx1"/>
        </a:solidFill>
        <a:latin typeface="Trebuchet MS" pitchFamily="34" charset="0"/>
        <a:ea typeface="+mn-ea"/>
        <a:cs typeface="+mn-cs"/>
      </a:defRPr>
    </a:lvl2pPr>
    <a:lvl3pPr marL="328613" indent="-165100" algn="l" defTabSz="1019175" rtl="0" eaLnBrk="0" fontAlgn="base" hangingPunct="0">
      <a:lnSpc>
        <a:spcPts val="1500"/>
      </a:lnSpc>
      <a:spcBef>
        <a:spcPts val="700"/>
      </a:spcBef>
      <a:spcAft>
        <a:spcPct val="0"/>
      </a:spcAft>
      <a:buClr>
        <a:srgbClr val="7D7D7D"/>
      </a:buClr>
      <a:buSzPct val="92000"/>
      <a:buFont typeface="Wingdings" pitchFamily="2" charset="2"/>
      <a:buChar char="n"/>
      <a:defRPr sz="1100" kern="1200">
        <a:solidFill>
          <a:schemeClr val="tx1"/>
        </a:solidFill>
        <a:latin typeface="Trebuchet MS" pitchFamily="34" charset="0"/>
        <a:ea typeface="+mn-ea"/>
        <a:cs typeface="+mn-cs"/>
      </a:defRPr>
    </a:lvl3pPr>
    <a:lvl4pPr marL="488950" indent="-158750" algn="l" defTabSz="1019175" rtl="0" eaLnBrk="0" fontAlgn="base" hangingPunct="0">
      <a:lnSpc>
        <a:spcPts val="1500"/>
      </a:lnSpc>
      <a:spcBef>
        <a:spcPts val="500"/>
      </a:spcBef>
      <a:spcAft>
        <a:spcPct val="0"/>
      </a:spcAft>
      <a:buClr>
        <a:schemeClr val="bg2"/>
      </a:buClr>
      <a:buSzPct val="92000"/>
      <a:buChar char="—"/>
      <a:defRPr sz="1100" kern="1200">
        <a:solidFill>
          <a:schemeClr val="tx1"/>
        </a:solidFill>
        <a:latin typeface="Trebuchet MS" pitchFamily="34" charset="0"/>
        <a:ea typeface="+mn-ea"/>
        <a:cs typeface="+mn-cs"/>
      </a:defRPr>
    </a:lvl4pPr>
    <a:lvl5pPr marL="657225" indent="-166688" algn="l" defTabSz="1019175" rtl="0" eaLnBrk="0" fontAlgn="base" hangingPunct="0">
      <a:lnSpc>
        <a:spcPts val="1500"/>
      </a:lnSpc>
      <a:spcBef>
        <a:spcPts val="500"/>
      </a:spcBef>
      <a:spcAft>
        <a:spcPct val="0"/>
      </a:spcAft>
      <a:buClr>
        <a:srgbClr val="7D7D7D"/>
      </a:buClr>
      <a:buSzPct val="92000"/>
      <a:buChar char="—"/>
      <a:defRPr sz="1100" kern="1200">
        <a:solidFill>
          <a:schemeClr val="tx1"/>
        </a:solidFill>
        <a:latin typeface="Trebuchet MS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.xml"/></Relationships>
</file>

<file path=ppt/notesSlides/_rels/notesSlide1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3.xml"/></Relationships>
</file>

<file path=ppt/notesSlides/_rels/notesSlide1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4.xml"/></Relationships>
</file>

<file path=ppt/notesSlides/_rels/notesSlide1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5.xml"/></Relationships>
</file>

<file path=ppt/notesSlides/_rels/notesSlide1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6.xml"/></Relationships>
</file>

<file path=ppt/notesSlides/_rels/notesSlide1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7.xml"/></Relationships>
</file>

<file path=ppt/notesSlides/_rels/notesSlide1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8.xml"/></Relationships>
</file>

<file path=ppt/notesSlides/_rels/notesSlide1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9.xml"/></Relationships>
</file>

<file path=ppt/notesSlides/_rels/notesSlide1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1.xml"/></Relationships>
</file>

<file path=ppt/notesSlides/_rels/notesSlide1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2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2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4.xml"/></Relationships>
</file>

<file path=ppt/notesSlides/_rels/notesSlide2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5.xml"/></Relationships>
</file>

<file path=ppt/notesSlides/_rels/notesSlide2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6.xml"/></Relationships>
</file>

<file path=ppt/notesSlides/_rels/notesSlide2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7.xml"/></Relationships>
</file>

<file path=ppt/notesSlides/_rels/notesSlide2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8.xml"/></Relationships>
</file>

<file path=ppt/notesSlides/_rels/notesSlide2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9.xml"/></Relationships>
</file>

<file path=ppt/notesSlides/_rels/notesSlide2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0.xml"/></Relationships>
</file>

<file path=ppt/notesSlides/_rels/notesSlide2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1.xml"/></Relationships>
</file>

<file path=ppt/notesSlides/_rels/notesSlide2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2.xml"/></Relationships>
</file>

<file path=ppt/notesSlides/_rels/notesSlide2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3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3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4.xml"/></Relationships>
</file>

<file path=ppt/notesSlides/_rels/notesSlide3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5.xml"/></Relationships>
</file>

<file path=ppt/notesSlides/_rels/notesSlide3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6.xml"/></Relationships>
</file>

<file path=ppt/notesSlides/_rels/notesSlide3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7.xml"/></Relationships>
</file>

<file path=ppt/notesSlides/_rels/notesSlide3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8.xml"/></Relationships>
</file>

<file path=ppt/notesSlides/_rels/notesSlide3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9.xml"/></Relationships>
</file>

<file path=ppt/notesSlides/_rels/notesSlide3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0.xml"/></Relationships>
</file>

<file path=ppt/notesSlides/_rels/notesSlide3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1.xml"/></Relationships>
</file>

<file path=ppt/notesSlides/_rels/notesSlide3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2.xml"/></Relationships>
</file>

<file path=ppt/notesSlides/_rels/notesSlide3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3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4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4.xml"/></Relationships>
</file>

<file path=ppt/notesSlides/_rels/notesSlide4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5.xml"/></Relationships>
</file>

<file path=ppt/notesSlides/_rels/notesSlide4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6.xml"/></Relationships>
</file>

<file path=ppt/notesSlides/_rels/notesSlide4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7.xml"/></Relationships>
</file>

<file path=ppt/notesSlides/_rels/notesSlide4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8.xml"/></Relationships>
</file>

<file path=ppt/notesSlides/_rels/notesSlide4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9.xml"/></Relationships>
</file>

<file path=ppt/notesSlides/_rels/notesSlide4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0.xml"/></Relationships>
</file>

<file path=ppt/notesSlides/_rels/notesSlide4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1.xml"/></Relationships>
</file>

<file path=ppt/notesSlides/_rels/notesSlide4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2.xml"/></Relationships>
</file>

<file path=ppt/notesSlides/_rels/notesSlide4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3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5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4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7" name="Slide Image Placeholder 1"/>
          <p:cNvSpPr>
            <a:spLocks noGrp="1" noRot="1" noChangeAspect="1"/>
          </p:cNvSpPr>
          <p:nvPr>
            <p:ph type="sldImg"/>
          </p:nvPr>
        </p:nvSpPr>
        <p:spPr>
          <a:ln/>
        </p:spPr>
      </p:sp>
      <p:sp>
        <p:nvSpPr>
          <p:cNvPr id="19458" name="Notes Placeholder 2"/>
          <p:cNvSpPr>
            <a:spLocks noGrp="1"/>
          </p:cNvSpPr>
          <p:nvPr>
            <p:ph type="body" idx="1"/>
          </p:nvPr>
        </p:nvSpPr>
        <p:spPr>
          <a:noFill/>
          <a:ln w="9525"/>
        </p:spPr>
        <p:txBody>
          <a:bodyPr/>
          <a:lstStyle/>
          <a:p>
            <a:endParaRPr lang="en-US" dirty="0" smtClean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30325" y="719138"/>
            <a:ext cx="4656138" cy="3598862"/>
          </a:xfrm>
          <a:ln/>
        </p:spPr>
      </p:sp>
      <p:sp>
        <p:nvSpPr>
          <p:cNvPr id="2560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74726" y="4557714"/>
            <a:ext cx="5365750" cy="4324350"/>
          </a:xfrm>
          <a:noFill/>
          <a:ln w="9525"/>
        </p:spPr>
        <p:txBody>
          <a:bodyPr lIns="90851" tIns="45426" rIns="90851" bIns="45426"/>
          <a:lstStyle/>
          <a:p>
            <a:endParaRPr lang="en-US" dirty="0" smtClean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30325" y="719138"/>
            <a:ext cx="4656138" cy="3598862"/>
          </a:xfrm>
          <a:ln/>
        </p:spPr>
      </p:sp>
      <p:sp>
        <p:nvSpPr>
          <p:cNvPr id="2560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74726" y="4557714"/>
            <a:ext cx="5365750" cy="4324350"/>
          </a:xfrm>
          <a:noFill/>
          <a:ln w="9525"/>
        </p:spPr>
        <p:txBody>
          <a:bodyPr lIns="90851" tIns="45426" rIns="90851" bIns="45426"/>
          <a:lstStyle/>
          <a:p>
            <a:endParaRPr lang="en-US" dirty="0" smtClean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30325" y="719138"/>
            <a:ext cx="4656138" cy="3598862"/>
          </a:xfrm>
          <a:ln/>
        </p:spPr>
      </p:sp>
      <p:sp>
        <p:nvSpPr>
          <p:cNvPr id="2560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74726" y="4557714"/>
            <a:ext cx="5365750" cy="4324350"/>
          </a:xfrm>
          <a:noFill/>
          <a:ln w="9525"/>
        </p:spPr>
        <p:txBody>
          <a:bodyPr lIns="90851" tIns="45426" rIns="90851" bIns="45426"/>
          <a:lstStyle/>
          <a:p>
            <a:endParaRPr lang="en-US" dirty="0" smtClean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30325" y="719138"/>
            <a:ext cx="4656138" cy="3598862"/>
          </a:xfrm>
          <a:ln/>
        </p:spPr>
      </p:sp>
      <p:sp>
        <p:nvSpPr>
          <p:cNvPr id="2560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74726" y="4557714"/>
            <a:ext cx="5365750" cy="4324350"/>
          </a:xfrm>
          <a:noFill/>
          <a:ln w="9525"/>
        </p:spPr>
        <p:txBody>
          <a:bodyPr lIns="90851" tIns="45426" rIns="90851" bIns="45426"/>
          <a:lstStyle/>
          <a:p>
            <a:endParaRPr lang="en-US" dirty="0" smtClean="0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30325" y="719138"/>
            <a:ext cx="4656138" cy="3598862"/>
          </a:xfrm>
          <a:ln/>
        </p:spPr>
      </p:sp>
      <p:sp>
        <p:nvSpPr>
          <p:cNvPr id="2560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74726" y="4557714"/>
            <a:ext cx="5365750" cy="4324350"/>
          </a:xfrm>
          <a:noFill/>
          <a:ln w="9525"/>
        </p:spPr>
        <p:txBody>
          <a:bodyPr lIns="90851" tIns="45426" rIns="90851" bIns="45426"/>
          <a:lstStyle/>
          <a:p>
            <a:endParaRPr lang="en-US" dirty="0" smtClean="0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30325" y="719138"/>
            <a:ext cx="4656138" cy="3598862"/>
          </a:xfrm>
          <a:ln/>
        </p:spPr>
      </p:sp>
      <p:sp>
        <p:nvSpPr>
          <p:cNvPr id="2560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74726" y="4557714"/>
            <a:ext cx="5365750" cy="4324350"/>
          </a:xfrm>
          <a:noFill/>
          <a:ln w="9525"/>
        </p:spPr>
        <p:txBody>
          <a:bodyPr lIns="90851" tIns="45426" rIns="90851" bIns="45426"/>
          <a:lstStyle/>
          <a:p>
            <a:endParaRPr lang="en-US" dirty="0" smtClean="0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30325" y="719138"/>
            <a:ext cx="4656138" cy="3598862"/>
          </a:xfrm>
          <a:ln/>
        </p:spPr>
      </p:sp>
      <p:sp>
        <p:nvSpPr>
          <p:cNvPr id="2560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74726" y="4557714"/>
            <a:ext cx="5365750" cy="4324350"/>
          </a:xfrm>
          <a:noFill/>
          <a:ln w="9525"/>
        </p:spPr>
        <p:txBody>
          <a:bodyPr lIns="90851" tIns="45426" rIns="90851" bIns="45426"/>
          <a:lstStyle/>
          <a:p>
            <a:endParaRPr lang="en-US" dirty="0" smtClean="0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30325" y="719138"/>
            <a:ext cx="4656138" cy="3598862"/>
          </a:xfrm>
          <a:ln/>
        </p:spPr>
      </p:sp>
      <p:sp>
        <p:nvSpPr>
          <p:cNvPr id="2560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74726" y="4557714"/>
            <a:ext cx="5365750" cy="4324350"/>
          </a:xfrm>
          <a:noFill/>
          <a:ln w="9525"/>
        </p:spPr>
        <p:txBody>
          <a:bodyPr lIns="90851" tIns="45426" rIns="90851" bIns="45426"/>
          <a:lstStyle/>
          <a:p>
            <a:endParaRPr lang="en-US" dirty="0" smtClean="0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30325" y="719138"/>
            <a:ext cx="4656138" cy="3598862"/>
          </a:xfrm>
          <a:ln/>
        </p:spPr>
      </p:sp>
      <p:sp>
        <p:nvSpPr>
          <p:cNvPr id="2560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74726" y="4557714"/>
            <a:ext cx="5365750" cy="4324350"/>
          </a:xfrm>
          <a:noFill/>
          <a:ln w="9525"/>
        </p:spPr>
        <p:txBody>
          <a:bodyPr lIns="90851" tIns="45426" rIns="90851" bIns="45426"/>
          <a:lstStyle/>
          <a:p>
            <a:endParaRPr lang="en-US" dirty="0" smtClean="0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30325" y="719138"/>
            <a:ext cx="4656138" cy="3598862"/>
          </a:xfrm>
          <a:ln/>
        </p:spPr>
      </p:sp>
      <p:sp>
        <p:nvSpPr>
          <p:cNvPr id="2560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74726" y="4557714"/>
            <a:ext cx="5365750" cy="4324350"/>
          </a:xfrm>
          <a:noFill/>
          <a:ln w="9525"/>
        </p:spPr>
        <p:txBody>
          <a:bodyPr lIns="90851" tIns="45426" rIns="90851" bIns="45426"/>
          <a:lstStyle/>
          <a:p>
            <a:endParaRPr lang="en-US" dirty="0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30325" y="719138"/>
            <a:ext cx="4656138" cy="3598862"/>
          </a:xfrm>
          <a:ln/>
        </p:spPr>
      </p:sp>
      <p:sp>
        <p:nvSpPr>
          <p:cNvPr id="2355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74725" y="4557713"/>
            <a:ext cx="5365750" cy="4324350"/>
          </a:xfrm>
          <a:noFill/>
          <a:ln w="9525"/>
        </p:spPr>
        <p:txBody>
          <a:bodyPr lIns="90862" tIns="45432" rIns="90862" bIns="45432"/>
          <a:lstStyle/>
          <a:p>
            <a:endParaRPr lang="en-US" smtClean="0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30325" y="719138"/>
            <a:ext cx="4656138" cy="3598862"/>
          </a:xfrm>
          <a:ln/>
        </p:spPr>
      </p:sp>
      <p:sp>
        <p:nvSpPr>
          <p:cNvPr id="2560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74726" y="4557714"/>
            <a:ext cx="5365750" cy="4324350"/>
          </a:xfrm>
          <a:noFill/>
          <a:ln w="9525"/>
        </p:spPr>
        <p:txBody>
          <a:bodyPr lIns="90851" tIns="45426" rIns="90851" bIns="45426"/>
          <a:lstStyle/>
          <a:p>
            <a:endParaRPr lang="en-US" dirty="0" smtClean="0"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9377" name="Slide Image Placeholder 1"/>
          <p:cNvSpPr>
            <a:spLocks noGrp="1" noRot="1" noChangeAspect="1"/>
          </p:cNvSpPr>
          <p:nvPr>
            <p:ph type="sldImg"/>
          </p:nvPr>
        </p:nvSpPr>
        <p:spPr>
          <a:ln/>
        </p:spPr>
      </p:sp>
      <p:sp>
        <p:nvSpPr>
          <p:cNvPr id="229378" name="Notes Placeholder 2"/>
          <p:cNvSpPr>
            <a:spLocks noGrp="1"/>
          </p:cNvSpPr>
          <p:nvPr>
            <p:ph type="body" idx="1"/>
          </p:nvPr>
        </p:nvSpPr>
        <p:spPr>
          <a:noFill/>
          <a:ln w="9525"/>
        </p:spPr>
        <p:txBody>
          <a:bodyPr/>
          <a:lstStyle/>
          <a:p>
            <a:endParaRPr lang="en-US" dirty="0" smtClean="0"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30325" y="719138"/>
            <a:ext cx="4656138" cy="3598862"/>
          </a:xfrm>
          <a:ln/>
        </p:spPr>
      </p:sp>
      <p:sp>
        <p:nvSpPr>
          <p:cNvPr id="2560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74726" y="4557714"/>
            <a:ext cx="5365750" cy="4324350"/>
          </a:xfrm>
          <a:noFill/>
          <a:ln w="9525"/>
        </p:spPr>
        <p:txBody>
          <a:bodyPr lIns="90851" tIns="45426" rIns="90851" bIns="45426"/>
          <a:lstStyle/>
          <a:p>
            <a:endParaRPr lang="en-US" dirty="0" smtClean="0"/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30325" y="719138"/>
            <a:ext cx="4656138" cy="3598862"/>
          </a:xfrm>
          <a:ln/>
        </p:spPr>
      </p:sp>
      <p:sp>
        <p:nvSpPr>
          <p:cNvPr id="2560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74726" y="4557714"/>
            <a:ext cx="5365750" cy="4324350"/>
          </a:xfrm>
          <a:noFill/>
          <a:ln w="9525"/>
        </p:spPr>
        <p:txBody>
          <a:bodyPr lIns="90851" tIns="45426" rIns="90851" bIns="45426"/>
          <a:lstStyle/>
          <a:p>
            <a:endParaRPr lang="en-US" dirty="0" smtClean="0"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7" name="Slide Image Placeholder 1"/>
          <p:cNvSpPr>
            <a:spLocks noGrp="1" noRot="1" noChangeAspect="1"/>
          </p:cNvSpPr>
          <p:nvPr>
            <p:ph type="sldImg"/>
          </p:nvPr>
        </p:nvSpPr>
        <p:spPr>
          <a:ln/>
        </p:spPr>
      </p:sp>
      <p:sp>
        <p:nvSpPr>
          <p:cNvPr id="19458" name="Notes Placeholder 2"/>
          <p:cNvSpPr>
            <a:spLocks noGrp="1"/>
          </p:cNvSpPr>
          <p:nvPr>
            <p:ph type="body" idx="1"/>
          </p:nvPr>
        </p:nvSpPr>
        <p:spPr>
          <a:noFill/>
          <a:ln w="9525"/>
        </p:spPr>
        <p:txBody>
          <a:bodyPr/>
          <a:lstStyle/>
          <a:p>
            <a:endParaRPr lang="en-US" dirty="0" smtClean="0"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06996" y="719763"/>
            <a:ext cx="4702865" cy="3598810"/>
          </a:xfrm>
          <a:ln/>
        </p:spPr>
      </p:sp>
      <p:sp>
        <p:nvSpPr>
          <p:cNvPr id="2560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74726" y="4557715"/>
            <a:ext cx="5365750" cy="4324350"/>
          </a:xfrm>
          <a:noFill/>
          <a:ln w="9525"/>
        </p:spPr>
        <p:txBody>
          <a:bodyPr lIns="90837" tIns="45419" rIns="90837" bIns="45419"/>
          <a:lstStyle/>
          <a:p>
            <a:endParaRPr lang="en-US" dirty="0" smtClean="0"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06996" y="719763"/>
            <a:ext cx="4702865" cy="3598810"/>
          </a:xfrm>
          <a:ln/>
        </p:spPr>
      </p:sp>
      <p:sp>
        <p:nvSpPr>
          <p:cNvPr id="2560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74726" y="4557715"/>
            <a:ext cx="5365750" cy="4324350"/>
          </a:xfrm>
          <a:noFill/>
          <a:ln w="9525"/>
        </p:spPr>
        <p:txBody>
          <a:bodyPr lIns="90837" tIns="45419" rIns="90837" bIns="45419"/>
          <a:lstStyle/>
          <a:p>
            <a:endParaRPr lang="en-US" dirty="0" smtClean="0"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06996" y="719763"/>
            <a:ext cx="4702865" cy="3598810"/>
          </a:xfrm>
          <a:ln/>
        </p:spPr>
      </p:sp>
      <p:sp>
        <p:nvSpPr>
          <p:cNvPr id="2560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74726" y="4557715"/>
            <a:ext cx="5365750" cy="4324350"/>
          </a:xfrm>
          <a:noFill/>
          <a:ln w="9525"/>
        </p:spPr>
        <p:txBody>
          <a:bodyPr lIns="90837" tIns="45419" rIns="90837" bIns="45419"/>
          <a:lstStyle/>
          <a:p>
            <a:endParaRPr lang="en-US" dirty="0" smtClean="0"/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06996" y="719763"/>
            <a:ext cx="4702865" cy="3598810"/>
          </a:xfrm>
          <a:ln/>
        </p:spPr>
      </p:sp>
      <p:sp>
        <p:nvSpPr>
          <p:cNvPr id="2560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74726" y="4557715"/>
            <a:ext cx="5365750" cy="4324350"/>
          </a:xfrm>
          <a:noFill/>
          <a:ln w="9525"/>
        </p:spPr>
        <p:txBody>
          <a:bodyPr lIns="90837" tIns="45419" rIns="90837" bIns="45419"/>
          <a:lstStyle/>
          <a:p>
            <a:endParaRPr lang="en-US" dirty="0" smtClean="0"/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30325" y="719138"/>
            <a:ext cx="4656138" cy="3598862"/>
          </a:xfrm>
          <a:ln/>
        </p:spPr>
      </p:sp>
      <p:sp>
        <p:nvSpPr>
          <p:cNvPr id="2560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74726" y="4557715"/>
            <a:ext cx="5365750" cy="4324350"/>
          </a:xfrm>
          <a:noFill/>
          <a:ln w="9525"/>
        </p:spPr>
        <p:txBody>
          <a:bodyPr lIns="90837" tIns="45419" rIns="90837" bIns="45419"/>
          <a:lstStyle/>
          <a:p>
            <a:endParaRPr lang="en-US" dirty="0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30325" y="719138"/>
            <a:ext cx="4656138" cy="3598862"/>
          </a:xfrm>
          <a:ln/>
        </p:spPr>
      </p:sp>
      <p:sp>
        <p:nvSpPr>
          <p:cNvPr id="2560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74726" y="4557714"/>
            <a:ext cx="5365750" cy="4324350"/>
          </a:xfrm>
          <a:noFill/>
          <a:ln w="9525"/>
        </p:spPr>
        <p:txBody>
          <a:bodyPr lIns="90851" tIns="45426" rIns="90851" bIns="45426"/>
          <a:lstStyle/>
          <a:p>
            <a:endParaRPr lang="en-US" dirty="0" smtClean="0"/>
          </a:p>
        </p:txBody>
      </p:sp>
    </p:spTree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06996" y="719763"/>
            <a:ext cx="4702865" cy="3598810"/>
          </a:xfrm>
          <a:ln/>
        </p:spPr>
      </p:sp>
      <p:sp>
        <p:nvSpPr>
          <p:cNvPr id="2560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74726" y="4557715"/>
            <a:ext cx="5365750" cy="4324350"/>
          </a:xfrm>
          <a:noFill/>
          <a:ln w="9525"/>
        </p:spPr>
        <p:txBody>
          <a:bodyPr lIns="90837" tIns="45419" rIns="90837" bIns="45419"/>
          <a:lstStyle/>
          <a:p>
            <a:endParaRPr lang="en-US" dirty="0" smtClean="0"/>
          </a:p>
        </p:txBody>
      </p:sp>
    </p:spTree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06996" y="719763"/>
            <a:ext cx="4702865" cy="3598810"/>
          </a:xfrm>
          <a:ln/>
        </p:spPr>
      </p:sp>
      <p:sp>
        <p:nvSpPr>
          <p:cNvPr id="2560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74726" y="4557715"/>
            <a:ext cx="5365750" cy="4324350"/>
          </a:xfrm>
          <a:noFill/>
          <a:ln w="9525"/>
        </p:spPr>
        <p:txBody>
          <a:bodyPr lIns="90837" tIns="45419" rIns="90837" bIns="45419"/>
          <a:lstStyle/>
          <a:p>
            <a:endParaRPr lang="en-US" dirty="0" smtClean="0"/>
          </a:p>
        </p:txBody>
      </p:sp>
    </p:spTree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06996" y="719763"/>
            <a:ext cx="4702865" cy="3598810"/>
          </a:xfrm>
          <a:ln/>
        </p:spPr>
      </p:sp>
      <p:sp>
        <p:nvSpPr>
          <p:cNvPr id="2560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74726" y="4557715"/>
            <a:ext cx="5365750" cy="4324350"/>
          </a:xfrm>
          <a:noFill/>
          <a:ln w="9525"/>
        </p:spPr>
        <p:txBody>
          <a:bodyPr lIns="90837" tIns="45419" rIns="90837" bIns="45419"/>
          <a:lstStyle/>
          <a:p>
            <a:endParaRPr lang="en-US" dirty="0" smtClean="0"/>
          </a:p>
        </p:txBody>
      </p:sp>
    </p:spTree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06996" y="719763"/>
            <a:ext cx="4702865" cy="3598810"/>
          </a:xfrm>
          <a:ln/>
        </p:spPr>
      </p:sp>
      <p:sp>
        <p:nvSpPr>
          <p:cNvPr id="2560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74726" y="4557715"/>
            <a:ext cx="5365750" cy="4324350"/>
          </a:xfrm>
          <a:noFill/>
          <a:ln w="9525"/>
        </p:spPr>
        <p:txBody>
          <a:bodyPr lIns="90837" tIns="45419" rIns="90837" bIns="45419"/>
          <a:lstStyle/>
          <a:p>
            <a:endParaRPr lang="en-US" dirty="0" smtClean="0"/>
          </a:p>
        </p:txBody>
      </p:sp>
    </p:spTree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06996" y="719763"/>
            <a:ext cx="4702865" cy="3598810"/>
          </a:xfrm>
          <a:ln/>
        </p:spPr>
      </p:sp>
      <p:sp>
        <p:nvSpPr>
          <p:cNvPr id="2560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74726" y="4557715"/>
            <a:ext cx="5365750" cy="4324350"/>
          </a:xfrm>
          <a:noFill/>
          <a:ln w="9525"/>
        </p:spPr>
        <p:txBody>
          <a:bodyPr lIns="90837" tIns="45419" rIns="90837" bIns="45419"/>
          <a:lstStyle/>
          <a:p>
            <a:endParaRPr lang="en-US" dirty="0" smtClean="0"/>
          </a:p>
        </p:txBody>
      </p:sp>
    </p:spTree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06996" y="719763"/>
            <a:ext cx="4702865" cy="3598810"/>
          </a:xfrm>
          <a:ln/>
        </p:spPr>
      </p:sp>
      <p:sp>
        <p:nvSpPr>
          <p:cNvPr id="2560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74726" y="4557715"/>
            <a:ext cx="5365750" cy="4324350"/>
          </a:xfrm>
          <a:noFill/>
          <a:ln w="9525"/>
        </p:spPr>
        <p:txBody>
          <a:bodyPr lIns="90837" tIns="45419" rIns="90837" bIns="45419"/>
          <a:lstStyle/>
          <a:p>
            <a:endParaRPr lang="en-US" dirty="0" smtClean="0"/>
          </a:p>
        </p:txBody>
      </p:sp>
    </p:spTree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06996" y="719763"/>
            <a:ext cx="4702865" cy="3598810"/>
          </a:xfrm>
          <a:ln/>
        </p:spPr>
      </p:sp>
      <p:sp>
        <p:nvSpPr>
          <p:cNvPr id="2560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74726" y="4557715"/>
            <a:ext cx="5365750" cy="4324350"/>
          </a:xfrm>
          <a:noFill/>
          <a:ln w="9525"/>
        </p:spPr>
        <p:txBody>
          <a:bodyPr lIns="90837" tIns="45419" rIns="90837" bIns="45419"/>
          <a:lstStyle/>
          <a:p>
            <a:endParaRPr lang="en-US" dirty="0" smtClean="0"/>
          </a:p>
        </p:txBody>
      </p:sp>
    </p:spTree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30325" y="719138"/>
            <a:ext cx="4656138" cy="3598862"/>
          </a:xfrm>
          <a:ln/>
        </p:spPr>
      </p:sp>
      <p:sp>
        <p:nvSpPr>
          <p:cNvPr id="2560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74726" y="4557715"/>
            <a:ext cx="5365750" cy="4324350"/>
          </a:xfrm>
          <a:noFill/>
          <a:ln w="9525"/>
        </p:spPr>
        <p:txBody>
          <a:bodyPr lIns="90837" tIns="45419" rIns="90837" bIns="45419"/>
          <a:lstStyle/>
          <a:p>
            <a:endParaRPr lang="en-US" dirty="0" smtClean="0"/>
          </a:p>
        </p:txBody>
      </p:sp>
    </p:spTree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06996" y="719763"/>
            <a:ext cx="4702865" cy="3598810"/>
          </a:xfrm>
          <a:ln/>
        </p:spPr>
      </p:sp>
      <p:sp>
        <p:nvSpPr>
          <p:cNvPr id="2560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74726" y="4557715"/>
            <a:ext cx="5365750" cy="4324350"/>
          </a:xfrm>
          <a:noFill/>
          <a:ln w="9525"/>
        </p:spPr>
        <p:txBody>
          <a:bodyPr lIns="90837" tIns="45419" rIns="90837" bIns="45419"/>
          <a:lstStyle/>
          <a:p>
            <a:endParaRPr lang="en-US" dirty="0" smtClean="0"/>
          </a:p>
        </p:txBody>
      </p:sp>
    </p:spTree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06996" y="719763"/>
            <a:ext cx="4702865" cy="3598810"/>
          </a:xfrm>
          <a:ln/>
        </p:spPr>
      </p:sp>
      <p:sp>
        <p:nvSpPr>
          <p:cNvPr id="2560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74726" y="4557715"/>
            <a:ext cx="5365750" cy="4324350"/>
          </a:xfrm>
          <a:noFill/>
          <a:ln w="9525"/>
        </p:spPr>
        <p:txBody>
          <a:bodyPr lIns="90837" tIns="45419" rIns="90837" bIns="45419"/>
          <a:lstStyle/>
          <a:p>
            <a:endParaRPr lang="en-US" dirty="0" smtClean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30325" y="719138"/>
            <a:ext cx="4656138" cy="3598862"/>
          </a:xfrm>
          <a:ln/>
        </p:spPr>
      </p:sp>
      <p:sp>
        <p:nvSpPr>
          <p:cNvPr id="2560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74726" y="4557714"/>
            <a:ext cx="5365750" cy="4324350"/>
          </a:xfrm>
          <a:noFill/>
          <a:ln w="9525"/>
        </p:spPr>
        <p:txBody>
          <a:bodyPr lIns="90851" tIns="45426" rIns="90851" bIns="45426"/>
          <a:lstStyle/>
          <a:p>
            <a:pPr lvl="2"/>
            <a:r>
              <a:rPr lang="en-US" sz="1100" kern="1200" dirty="0" smtClean="0">
                <a:solidFill>
                  <a:schemeClr val="tx1"/>
                </a:solidFill>
                <a:latin typeface="Trebuchet MS" pitchFamily="34" charset="0"/>
                <a:ea typeface="+mn-ea"/>
                <a:cs typeface="+mn-cs"/>
              </a:rPr>
              <a:t>Connexxus article (see reverse)!  Shout out to Central Travel Mgmt.!</a:t>
            </a:r>
            <a:endParaRPr lang="en-US" sz="1000" kern="1200" dirty="0" smtClean="0">
              <a:solidFill>
                <a:schemeClr val="tx1"/>
              </a:solidFill>
              <a:latin typeface="Trebuchet MS" pitchFamily="34" charset="0"/>
              <a:ea typeface="+mn-ea"/>
              <a:cs typeface="+mn-cs"/>
            </a:endParaRPr>
          </a:p>
          <a:p>
            <a:pPr lvl="2"/>
            <a:r>
              <a:rPr lang="en-US" sz="1100" kern="1200" dirty="0" smtClean="0">
                <a:solidFill>
                  <a:schemeClr val="tx1"/>
                </a:solidFill>
                <a:latin typeface="Trebuchet MS" pitchFamily="34" charset="0"/>
                <a:ea typeface="+mn-ea"/>
                <a:cs typeface="+mn-cs"/>
              </a:rPr>
              <a:t>$1.2 billion UCRP issuance!  Shout out to Yoon/Pikka/Allen/Maria/Peggy/Irene!</a:t>
            </a:r>
            <a:endParaRPr lang="en-US" sz="1000" kern="1200" dirty="0" smtClean="0">
              <a:solidFill>
                <a:schemeClr val="tx1"/>
              </a:solidFill>
              <a:latin typeface="Trebuchet MS" pitchFamily="34" charset="0"/>
              <a:ea typeface="+mn-ea"/>
              <a:cs typeface="+mn-cs"/>
            </a:endParaRPr>
          </a:p>
          <a:p>
            <a:pPr lvl="2"/>
            <a:r>
              <a:rPr lang="en-US" sz="1100" kern="1200" dirty="0" smtClean="0">
                <a:solidFill>
                  <a:schemeClr val="tx1"/>
                </a:solidFill>
                <a:latin typeface="Trebuchet MS" pitchFamily="34" charset="0"/>
                <a:ea typeface="+mn-ea"/>
                <a:cs typeface="+mn-cs"/>
              </a:rPr>
              <a:t>$27.5 million MOP loan sale on June 29!  Shout out to OLP!</a:t>
            </a:r>
            <a:endParaRPr lang="en-US" sz="1000" kern="1200" dirty="0" smtClean="0">
              <a:solidFill>
                <a:schemeClr val="tx1"/>
              </a:solidFill>
              <a:latin typeface="Trebuchet MS" pitchFamily="34" charset="0"/>
              <a:ea typeface="+mn-ea"/>
              <a:cs typeface="+mn-cs"/>
            </a:endParaRPr>
          </a:p>
          <a:p>
            <a:pPr lvl="2"/>
            <a:r>
              <a:rPr lang="en-US" sz="1100" kern="1200" dirty="0" smtClean="0">
                <a:solidFill>
                  <a:schemeClr val="tx1"/>
                </a:solidFill>
                <a:latin typeface="Trebuchet MS" pitchFamily="34" charset="0"/>
                <a:ea typeface="+mn-ea"/>
                <a:cs typeface="+mn-cs"/>
              </a:rPr>
              <a:t>Jennifer Ha – Congrats</a:t>
            </a:r>
            <a:r>
              <a:rPr lang="en-US" sz="1100" kern="1200" baseline="0" dirty="0" smtClean="0">
                <a:solidFill>
                  <a:schemeClr val="tx1"/>
                </a:solidFill>
                <a:latin typeface="Trebuchet MS" pitchFamily="34" charset="0"/>
                <a:ea typeface="+mn-ea"/>
                <a:cs typeface="+mn-cs"/>
              </a:rPr>
              <a:t> on promotion from Accountant to Analyst!</a:t>
            </a:r>
            <a:endParaRPr lang="en-US" sz="1100" kern="1200" dirty="0" smtClean="0">
              <a:solidFill>
                <a:schemeClr val="tx1"/>
              </a:solidFill>
              <a:latin typeface="Trebuchet MS" pitchFamily="34" charset="0"/>
              <a:ea typeface="+mn-ea"/>
              <a:cs typeface="+mn-cs"/>
            </a:endParaRPr>
          </a:p>
          <a:p>
            <a:pPr lvl="2"/>
            <a:r>
              <a:rPr lang="en-US" sz="1100" kern="1200" dirty="0" smtClean="0">
                <a:solidFill>
                  <a:schemeClr val="tx1"/>
                </a:solidFill>
                <a:latin typeface="Trebuchet MS" pitchFamily="34" charset="0"/>
                <a:ea typeface="+mn-ea"/>
                <a:cs typeface="+mn-cs"/>
              </a:rPr>
              <a:t>Rich Powell – Congrats on retirement!</a:t>
            </a:r>
            <a:endParaRPr lang="en-US" sz="1000" kern="1200" dirty="0" smtClean="0">
              <a:solidFill>
                <a:schemeClr val="tx1"/>
              </a:solidFill>
              <a:latin typeface="Trebuchet MS" pitchFamily="34" charset="0"/>
              <a:ea typeface="+mn-ea"/>
              <a:cs typeface="+mn-cs"/>
            </a:endParaRPr>
          </a:p>
          <a:p>
            <a:pPr lvl="2"/>
            <a:r>
              <a:rPr lang="en-US" sz="1100" kern="1200" dirty="0" smtClean="0">
                <a:solidFill>
                  <a:schemeClr val="tx1"/>
                </a:solidFill>
                <a:latin typeface="Trebuchet MS" pitchFamily="34" charset="0"/>
                <a:ea typeface="+mn-ea"/>
                <a:cs typeface="+mn-cs"/>
              </a:rPr>
              <a:t>Alan Moloney – Congrats</a:t>
            </a:r>
            <a:r>
              <a:rPr lang="en-US" sz="1100" kern="1200" baseline="0" dirty="0" smtClean="0">
                <a:solidFill>
                  <a:schemeClr val="tx1"/>
                </a:solidFill>
                <a:latin typeface="Trebuchet MS" pitchFamily="34" charset="0"/>
                <a:ea typeface="+mn-ea"/>
                <a:cs typeface="+mn-cs"/>
              </a:rPr>
              <a:t> on 25 years!</a:t>
            </a:r>
            <a:endParaRPr lang="en-US" sz="1100" kern="1200" dirty="0" smtClean="0">
              <a:solidFill>
                <a:schemeClr val="tx1"/>
              </a:solidFill>
              <a:latin typeface="Trebuchet MS" pitchFamily="34" charset="0"/>
              <a:ea typeface="+mn-ea"/>
              <a:cs typeface="+mn-cs"/>
            </a:endParaRPr>
          </a:p>
          <a:p>
            <a:pPr lvl="2"/>
            <a:r>
              <a:rPr lang="en-US" sz="1100" kern="1200" dirty="0" smtClean="0">
                <a:solidFill>
                  <a:schemeClr val="tx1"/>
                </a:solidFill>
                <a:latin typeface="Trebuchet MS" pitchFamily="34" charset="0"/>
                <a:ea typeface="+mn-ea"/>
                <a:cs typeface="+mn-cs"/>
              </a:rPr>
              <a:t>Erike Young – 2010-2011 Safety Professional of the Year! (American Society of Safety Engineers, Region 1)</a:t>
            </a:r>
            <a:endParaRPr lang="en-US" sz="1000" kern="1200" dirty="0" smtClean="0">
              <a:solidFill>
                <a:schemeClr val="tx1"/>
              </a:solidFill>
              <a:latin typeface="Trebuchet MS" pitchFamily="34" charset="0"/>
              <a:ea typeface="+mn-ea"/>
              <a:cs typeface="+mn-cs"/>
            </a:endParaRPr>
          </a:p>
          <a:p>
            <a:pPr lvl="2"/>
            <a:r>
              <a:rPr lang="en-US" sz="1100" kern="1200" dirty="0" smtClean="0">
                <a:solidFill>
                  <a:schemeClr val="tx1"/>
                </a:solidFill>
                <a:latin typeface="Trebuchet MS" pitchFamily="34" charset="0"/>
                <a:ea typeface="+mn-ea"/>
                <a:cs typeface="+mn-cs"/>
              </a:rPr>
              <a:t>Amal Smith – Joined BRC, taking over Ginny’s Accountability Mgr. role!</a:t>
            </a:r>
            <a:endParaRPr lang="en-US" sz="1000" kern="1200" dirty="0" smtClean="0">
              <a:solidFill>
                <a:schemeClr val="tx1"/>
              </a:solidFill>
              <a:latin typeface="Trebuchet MS" pitchFamily="34" charset="0"/>
              <a:ea typeface="+mn-ea"/>
              <a:cs typeface="+mn-cs"/>
            </a:endParaRPr>
          </a:p>
          <a:p>
            <a:endParaRPr lang="en-US" dirty="0" smtClean="0"/>
          </a:p>
        </p:txBody>
      </p:sp>
    </p:spTree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06996" y="719763"/>
            <a:ext cx="4702865" cy="3598810"/>
          </a:xfrm>
          <a:ln/>
        </p:spPr>
      </p:sp>
      <p:sp>
        <p:nvSpPr>
          <p:cNvPr id="2560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74726" y="4557715"/>
            <a:ext cx="5365750" cy="4324350"/>
          </a:xfrm>
          <a:noFill/>
          <a:ln w="9525"/>
        </p:spPr>
        <p:txBody>
          <a:bodyPr lIns="90837" tIns="45419" rIns="90837" bIns="45419"/>
          <a:lstStyle/>
          <a:p>
            <a:endParaRPr lang="en-US" dirty="0" smtClean="0"/>
          </a:p>
        </p:txBody>
      </p:sp>
    </p:spTree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06996" y="719763"/>
            <a:ext cx="4702865" cy="3598810"/>
          </a:xfrm>
          <a:ln/>
        </p:spPr>
      </p:sp>
      <p:sp>
        <p:nvSpPr>
          <p:cNvPr id="2560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74726" y="4557715"/>
            <a:ext cx="5365750" cy="4324350"/>
          </a:xfrm>
          <a:noFill/>
          <a:ln w="9525"/>
        </p:spPr>
        <p:txBody>
          <a:bodyPr lIns="90837" tIns="45419" rIns="90837" bIns="45419"/>
          <a:lstStyle/>
          <a:p>
            <a:endParaRPr lang="en-US" dirty="0" smtClean="0"/>
          </a:p>
        </p:txBody>
      </p:sp>
    </p:spTree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06996" y="719763"/>
            <a:ext cx="4702865" cy="3598810"/>
          </a:xfrm>
          <a:ln/>
        </p:spPr>
      </p:sp>
      <p:sp>
        <p:nvSpPr>
          <p:cNvPr id="2560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74726" y="4557715"/>
            <a:ext cx="5365750" cy="4324350"/>
          </a:xfrm>
          <a:noFill/>
          <a:ln w="9525"/>
        </p:spPr>
        <p:txBody>
          <a:bodyPr lIns="90837" tIns="45419" rIns="90837" bIns="45419"/>
          <a:lstStyle/>
          <a:p>
            <a:endParaRPr lang="en-US" dirty="0" smtClean="0"/>
          </a:p>
        </p:txBody>
      </p:sp>
    </p:spTree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06996" y="719763"/>
            <a:ext cx="4702865" cy="3598810"/>
          </a:xfrm>
          <a:ln/>
        </p:spPr>
      </p:sp>
      <p:sp>
        <p:nvSpPr>
          <p:cNvPr id="2560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74726" y="4557715"/>
            <a:ext cx="5365750" cy="4324350"/>
          </a:xfrm>
          <a:noFill/>
          <a:ln w="9525"/>
        </p:spPr>
        <p:txBody>
          <a:bodyPr lIns="90837" tIns="45419" rIns="90837" bIns="45419"/>
          <a:lstStyle/>
          <a:p>
            <a:endParaRPr lang="en-US" dirty="0" smtClean="0"/>
          </a:p>
        </p:txBody>
      </p:sp>
    </p:spTree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06996" y="719763"/>
            <a:ext cx="4702865" cy="3598810"/>
          </a:xfrm>
          <a:ln/>
        </p:spPr>
      </p:sp>
      <p:sp>
        <p:nvSpPr>
          <p:cNvPr id="2560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74726" y="4557715"/>
            <a:ext cx="5365750" cy="4324350"/>
          </a:xfrm>
          <a:noFill/>
          <a:ln w="9525"/>
        </p:spPr>
        <p:txBody>
          <a:bodyPr lIns="90837" tIns="45419" rIns="90837" bIns="45419"/>
          <a:lstStyle/>
          <a:p>
            <a:endParaRPr lang="en-US" dirty="0" smtClean="0"/>
          </a:p>
        </p:txBody>
      </p:sp>
    </p:spTree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30325" y="719138"/>
            <a:ext cx="4656138" cy="3598862"/>
          </a:xfrm>
          <a:ln/>
        </p:spPr>
      </p:sp>
      <p:sp>
        <p:nvSpPr>
          <p:cNvPr id="2560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74726" y="4557715"/>
            <a:ext cx="5365750" cy="4324350"/>
          </a:xfrm>
          <a:noFill/>
          <a:ln w="9525"/>
        </p:spPr>
        <p:txBody>
          <a:bodyPr lIns="90837" tIns="45419" rIns="90837" bIns="45419"/>
          <a:lstStyle/>
          <a:p>
            <a:endParaRPr lang="en-US" dirty="0" smtClean="0"/>
          </a:p>
        </p:txBody>
      </p:sp>
    </p:spTree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06996" y="719763"/>
            <a:ext cx="4702865" cy="3598810"/>
          </a:xfrm>
          <a:ln/>
        </p:spPr>
      </p:sp>
      <p:sp>
        <p:nvSpPr>
          <p:cNvPr id="2560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74726" y="4557715"/>
            <a:ext cx="5365750" cy="4324350"/>
          </a:xfrm>
          <a:noFill/>
          <a:ln w="9525"/>
        </p:spPr>
        <p:txBody>
          <a:bodyPr lIns="90837" tIns="45419" rIns="90837" bIns="45419"/>
          <a:lstStyle/>
          <a:p>
            <a:endParaRPr lang="en-US" dirty="0" smtClean="0"/>
          </a:p>
        </p:txBody>
      </p:sp>
    </p:spTree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06996" y="719763"/>
            <a:ext cx="4702865" cy="3598810"/>
          </a:xfrm>
          <a:ln/>
        </p:spPr>
      </p:sp>
      <p:sp>
        <p:nvSpPr>
          <p:cNvPr id="2560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74726" y="4557715"/>
            <a:ext cx="5365750" cy="4324350"/>
          </a:xfrm>
          <a:noFill/>
          <a:ln w="9525"/>
        </p:spPr>
        <p:txBody>
          <a:bodyPr lIns="90837" tIns="45419" rIns="90837" bIns="45419"/>
          <a:lstStyle/>
          <a:p>
            <a:endParaRPr lang="en-US" dirty="0" smtClean="0"/>
          </a:p>
        </p:txBody>
      </p:sp>
    </p:spTree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06996" y="719763"/>
            <a:ext cx="4702865" cy="3598810"/>
          </a:xfrm>
          <a:ln/>
        </p:spPr>
      </p:sp>
      <p:sp>
        <p:nvSpPr>
          <p:cNvPr id="2560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74726" y="4557715"/>
            <a:ext cx="5365750" cy="4324350"/>
          </a:xfrm>
          <a:noFill/>
          <a:ln w="9525"/>
        </p:spPr>
        <p:txBody>
          <a:bodyPr lIns="90837" tIns="45419" rIns="90837" bIns="45419"/>
          <a:lstStyle/>
          <a:p>
            <a:endParaRPr lang="en-US" dirty="0" smtClean="0"/>
          </a:p>
        </p:txBody>
      </p:sp>
    </p:spTree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06996" y="719763"/>
            <a:ext cx="4702865" cy="3598810"/>
          </a:xfrm>
          <a:ln/>
        </p:spPr>
      </p:sp>
      <p:sp>
        <p:nvSpPr>
          <p:cNvPr id="2560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74726" y="4557715"/>
            <a:ext cx="5365750" cy="4324350"/>
          </a:xfrm>
          <a:noFill/>
          <a:ln w="9525"/>
        </p:spPr>
        <p:txBody>
          <a:bodyPr lIns="90837" tIns="45419" rIns="90837" bIns="45419"/>
          <a:lstStyle/>
          <a:p>
            <a:endParaRPr lang="en-US" dirty="0" smtClean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30325" y="719138"/>
            <a:ext cx="4656138" cy="3598862"/>
          </a:xfrm>
          <a:ln/>
        </p:spPr>
      </p:sp>
      <p:sp>
        <p:nvSpPr>
          <p:cNvPr id="2560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74726" y="4557714"/>
            <a:ext cx="5365750" cy="4324350"/>
          </a:xfrm>
          <a:noFill/>
          <a:ln w="9525"/>
        </p:spPr>
        <p:txBody>
          <a:bodyPr lIns="90851" tIns="45426" rIns="90851" bIns="45426"/>
          <a:lstStyle/>
          <a:p>
            <a:endParaRPr lang="en-US" sz="2000" b="0" dirty="0" smtClean="0">
              <a:solidFill>
                <a:srgbClr val="FF0000"/>
              </a:solidFill>
            </a:endParaRPr>
          </a:p>
        </p:txBody>
      </p:sp>
    </p:spTree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9377" name="Slide Image Placeholder 1"/>
          <p:cNvSpPr>
            <a:spLocks noGrp="1" noRot="1" noChangeAspect="1"/>
          </p:cNvSpPr>
          <p:nvPr>
            <p:ph type="sldImg"/>
          </p:nvPr>
        </p:nvSpPr>
        <p:spPr>
          <a:ln/>
        </p:spPr>
      </p:sp>
      <p:sp>
        <p:nvSpPr>
          <p:cNvPr id="229378" name="Notes Placeholder 2"/>
          <p:cNvSpPr>
            <a:spLocks noGrp="1"/>
          </p:cNvSpPr>
          <p:nvPr>
            <p:ph type="body" idx="1"/>
          </p:nvPr>
        </p:nvSpPr>
        <p:spPr>
          <a:noFill/>
          <a:ln w="9525"/>
        </p:spPr>
        <p:txBody>
          <a:bodyPr/>
          <a:lstStyle/>
          <a:p>
            <a:endParaRPr lang="en-US" dirty="0" smtClean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30325" y="719138"/>
            <a:ext cx="4656138" cy="3598862"/>
          </a:xfrm>
          <a:ln/>
        </p:spPr>
      </p:sp>
      <p:sp>
        <p:nvSpPr>
          <p:cNvPr id="2560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74726" y="4557714"/>
            <a:ext cx="5365750" cy="4324350"/>
          </a:xfrm>
          <a:noFill/>
          <a:ln w="9525"/>
        </p:spPr>
        <p:txBody>
          <a:bodyPr lIns="90851" tIns="45426" rIns="90851" bIns="45426"/>
          <a:lstStyle/>
          <a:p>
            <a:endParaRPr lang="en-US" sz="2000" b="0" dirty="0" smtClean="0">
              <a:solidFill>
                <a:srgbClr val="FF0000"/>
              </a:solidFill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30325" y="719138"/>
            <a:ext cx="4656138" cy="3598862"/>
          </a:xfrm>
          <a:ln/>
        </p:spPr>
      </p:sp>
      <p:sp>
        <p:nvSpPr>
          <p:cNvPr id="2560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74726" y="4557714"/>
            <a:ext cx="5365750" cy="4324350"/>
          </a:xfrm>
          <a:noFill/>
          <a:ln w="9525"/>
        </p:spPr>
        <p:txBody>
          <a:bodyPr lIns="90851" tIns="45426" rIns="90851" bIns="45426"/>
          <a:lstStyle/>
          <a:p>
            <a:endParaRPr lang="en-US" dirty="0" smtClean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30325" y="719138"/>
            <a:ext cx="4656138" cy="3598862"/>
          </a:xfrm>
          <a:ln/>
        </p:spPr>
      </p:sp>
      <p:sp>
        <p:nvSpPr>
          <p:cNvPr id="2560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74726" y="4557714"/>
            <a:ext cx="5365750" cy="4324350"/>
          </a:xfrm>
          <a:noFill/>
          <a:ln w="9525"/>
        </p:spPr>
        <p:txBody>
          <a:bodyPr lIns="90851" tIns="45426" rIns="90851" bIns="45426"/>
          <a:lstStyle/>
          <a:p>
            <a:endParaRPr lang="en-US" dirty="0" smtClean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30325" y="719138"/>
            <a:ext cx="4656138" cy="3598862"/>
          </a:xfrm>
          <a:ln/>
        </p:spPr>
      </p:sp>
      <p:sp>
        <p:nvSpPr>
          <p:cNvPr id="2560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74726" y="4557714"/>
            <a:ext cx="5365750" cy="4324350"/>
          </a:xfrm>
          <a:noFill/>
          <a:ln w="9525"/>
        </p:spPr>
        <p:txBody>
          <a:bodyPr lIns="90851" tIns="45426" rIns="90851" bIns="45426"/>
          <a:lstStyle/>
          <a:p>
            <a:endParaRPr lang="en-US" dirty="0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1" Type="http://schemas.openxmlformats.org/officeDocument/2006/relationships/image" Target="../media/image2.wmf"/><Relationship Id="rId12" Type="http://schemas.openxmlformats.org/officeDocument/2006/relationships/image" Target="../media/image3.wmf"/><Relationship Id="rId13" Type="http://schemas.openxmlformats.org/officeDocument/2006/relationships/image" Target="../media/image4.png"/><Relationship Id="rId14" Type="http://schemas.openxmlformats.org/officeDocument/2006/relationships/image" Target="../media/image5.png"/><Relationship Id="rId15" Type="http://schemas.openxmlformats.org/officeDocument/2006/relationships/image" Target="../media/image6.png"/><Relationship Id="rId16" Type="http://schemas.openxmlformats.org/officeDocument/2006/relationships/image" Target="../media/image7.png"/><Relationship Id="rId17" Type="http://schemas.openxmlformats.org/officeDocument/2006/relationships/image" Target="../media/image8.png"/><Relationship Id="rId18" Type="http://schemas.openxmlformats.org/officeDocument/2006/relationships/image" Target="../media/image9.png"/><Relationship Id="rId19" Type="http://schemas.openxmlformats.org/officeDocument/2006/relationships/image" Target="../media/image10.png"/><Relationship Id="rId1" Type="http://schemas.openxmlformats.org/officeDocument/2006/relationships/tags" Target="../tags/tag5.xml"/><Relationship Id="rId2" Type="http://schemas.openxmlformats.org/officeDocument/2006/relationships/tags" Target="../tags/tag6.xml"/><Relationship Id="rId3" Type="http://schemas.openxmlformats.org/officeDocument/2006/relationships/tags" Target="../tags/tag7.xml"/><Relationship Id="rId4" Type="http://schemas.openxmlformats.org/officeDocument/2006/relationships/tags" Target="../tags/tag8.xml"/><Relationship Id="rId5" Type="http://schemas.openxmlformats.org/officeDocument/2006/relationships/tags" Target="../tags/tag9.xml"/><Relationship Id="rId6" Type="http://schemas.openxmlformats.org/officeDocument/2006/relationships/tags" Target="../tags/tag10.xml"/><Relationship Id="rId7" Type="http://schemas.openxmlformats.org/officeDocument/2006/relationships/tags" Target="../tags/tag11.xml"/><Relationship Id="rId8" Type="http://schemas.openxmlformats.org/officeDocument/2006/relationships/tags" Target="../tags/tag12.xml"/><Relationship Id="rId9" Type="http://schemas.openxmlformats.org/officeDocument/2006/relationships/tags" Target="../tags/tag13.xml"/><Relationship Id="rId10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6" hidden="1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11" cstate="print"/>
          <a:srcRect/>
          <a:stretch>
            <a:fillRect/>
          </a:stretch>
        </p:blipFill>
        <p:spPr bwMode="blackGray">
          <a:xfrm>
            <a:off x="-2514600" y="4279900"/>
            <a:ext cx="2293937" cy="204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37" hidden="1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12" cstate="print"/>
          <a:srcRect/>
          <a:stretch>
            <a:fillRect/>
          </a:stretch>
        </p:blipFill>
        <p:spPr bwMode="blackGray">
          <a:xfrm>
            <a:off x="-2001838" y="4781550"/>
            <a:ext cx="1781175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38" descr="Logo2004_JPM-Cazenove_C" hidden="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390650" y="6400800"/>
            <a:ext cx="1169987" cy="33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39" descr="Logo2005_JPMPB_C_Blue300" hidden="1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476375" y="3049588"/>
            <a:ext cx="1255712" cy="319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40" descr="Logo2005_Chase_C_Blue300" hidden="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255713" y="5908675"/>
            <a:ext cx="1035050" cy="193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41" descr="Logo2005_JPM_C_Blue300" hidden="1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790700" y="1876425"/>
            <a:ext cx="1570037" cy="242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42" descr="Logo2005_JPMAM_C_Blue300" hidden="1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476375" y="2416175"/>
            <a:ext cx="1255712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43" descr="Logo2005_JPMC_C_Blue300" hidden="1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2078038" y="5416550"/>
            <a:ext cx="1857375" cy="193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44" descr="Logo2005_JPMP_C_Blue300" hidden="1"/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476375" y="3667125"/>
            <a:ext cx="1255712" cy="314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162800" y="528638"/>
            <a:ext cx="2133600" cy="5795962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57238" y="528638"/>
            <a:ext cx="6253162" cy="5795962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7238" y="528638"/>
            <a:ext cx="7313612" cy="6127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2128838" y="1524000"/>
            <a:ext cx="7167562" cy="4800600"/>
          </a:xfrm>
        </p:spPr>
        <p:txBody>
          <a:bodyPr/>
          <a:lstStyle/>
          <a:p>
            <a:pPr lvl="0"/>
            <a:endParaRPr lang="en-US" noProof="0" dirty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mediaAndTx" preserve="1">
  <p:cSld name="Title, Media Clip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7238" y="528638"/>
            <a:ext cx="7313612" cy="6127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Media Placeholder 2"/>
          <p:cNvSpPr>
            <a:spLocks noGrp="1"/>
          </p:cNvSpPr>
          <p:nvPr>
            <p:ph type="media" sz="half" idx="1"/>
          </p:nvPr>
        </p:nvSpPr>
        <p:spPr>
          <a:xfrm>
            <a:off x="2128838" y="1524000"/>
            <a:ext cx="3506787" cy="4800600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788025" y="1524000"/>
            <a:ext cx="3508375" cy="48006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Media" preserve="1">
  <p:cSld name="Title, Text and Media Cli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7238" y="528638"/>
            <a:ext cx="7313612" cy="6127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2128838" y="1524000"/>
            <a:ext cx="3506787" cy="48006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Media Placeholder 3"/>
          <p:cNvSpPr>
            <a:spLocks noGrp="1"/>
          </p:cNvSpPr>
          <p:nvPr>
            <p:ph type="media" sz="half" idx="2"/>
          </p:nvPr>
        </p:nvSpPr>
        <p:spPr>
          <a:xfrm>
            <a:off x="5788025" y="1524000"/>
            <a:ext cx="3508375" cy="4800600"/>
          </a:xfrm>
        </p:spPr>
        <p:txBody>
          <a:bodyPr/>
          <a:lstStyle/>
          <a:p>
            <a:pPr lvl="0"/>
            <a:endParaRPr lang="en-US" noProof="0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2pPr>
              <a:buSzPct val="125000"/>
              <a:buFont typeface="Arial" pitchFamily="34" charset="0"/>
              <a:buChar char="•"/>
              <a:defRPr/>
            </a:lvl2pPr>
            <a:lvl3pPr>
              <a:buSzPct val="125000"/>
              <a:defRPr/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95338" y="4994275"/>
            <a:ext cx="8548687" cy="1544638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95338" y="3294063"/>
            <a:ext cx="8548687" cy="1700212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128838" y="1524000"/>
            <a:ext cx="3506787" cy="4800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788025" y="1524000"/>
            <a:ext cx="3508375" cy="4800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3238" y="311150"/>
            <a:ext cx="9051925" cy="12954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3238" y="1739900"/>
            <a:ext cx="4443412" cy="725488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3238" y="2465388"/>
            <a:ext cx="4443412" cy="4478337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110163" y="1739900"/>
            <a:ext cx="4445000" cy="725488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110163" y="2465388"/>
            <a:ext cx="4445000" cy="4478337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3238" y="309563"/>
            <a:ext cx="3308350" cy="1317625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32238" y="309563"/>
            <a:ext cx="5622925" cy="6634162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03238" y="1627188"/>
            <a:ext cx="3308350" cy="531653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71675" y="5440363"/>
            <a:ext cx="6035675" cy="642937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71675" y="693738"/>
            <a:ext cx="6035675" cy="466407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71675" y="6083300"/>
            <a:ext cx="6035675" cy="911225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theme" Target="../theme/theme1.xml"/><Relationship Id="rId16" Type="http://schemas.openxmlformats.org/officeDocument/2006/relationships/tags" Target="../tags/tag2.xml"/><Relationship Id="rId17" Type="http://schemas.openxmlformats.org/officeDocument/2006/relationships/tags" Target="../tags/tag3.xml"/><Relationship Id="rId18" Type="http://schemas.openxmlformats.org/officeDocument/2006/relationships/tags" Target="../tags/tag4.xml"/><Relationship Id="rId19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757238" y="528638"/>
            <a:ext cx="7313612" cy="612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7" name="Rectangle 5"/>
          <p:cNvSpPr>
            <a:spLocks noGrp="1" noChangeArrowheads="1"/>
          </p:cNvSpPr>
          <p:nvPr>
            <p:ph type="body" idx="1"/>
          </p:nvPr>
        </p:nvSpPr>
        <p:spPr bwMode="gray">
          <a:xfrm>
            <a:off x="2128838" y="1524000"/>
            <a:ext cx="7167562" cy="4800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9" tIns="36571" rIns="36571" bIns="3657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Body Text</a:t>
            </a:r>
          </a:p>
          <a:p>
            <a:pPr lvl="1"/>
            <a:r>
              <a:rPr lang="en-US" smtClean="0"/>
              <a:t>Bullet one</a:t>
            </a:r>
          </a:p>
          <a:p>
            <a:pPr lvl="2"/>
            <a:r>
              <a:rPr lang="en-US" smtClean="0"/>
              <a:t>Bullet two</a:t>
            </a:r>
          </a:p>
          <a:p>
            <a:pPr lvl="3"/>
            <a:r>
              <a:rPr lang="en-US" smtClean="0"/>
              <a:t>Bullet three</a:t>
            </a:r>
          </a:p>
          <a:p>
            <a:pPr lvl="4"/>
            <a:r>
              <a:rPr lang="en-US" smtClean="0"/>
              <a:t>Bullet four</a:t>
            </a:r>
          </a:p>
        </p:txBody>
      </p:sp>
      <p:sp>
        <p:nvSpPr>
          <p:cNvPr id="21685" name="Line 181"/>
          <p:cNvSpPr>
            <a:spLocks noChangeShapeType="1"/>
          </p:cNvSpPr>
          <p:nvPr userDrawn="1">
            <p:custDataLst>
              <p:tags r:id="rId16"/>
            </p:custDataLst>
          </p:nvPr>
        </p:nvSpPr>
        <p:spPr bwMode="gray">
          <a:xfrm>
            <a:off x="768350" y="1316038"/>
            <a:ext cx="0" cy="6089650"/>
          </a:xfrm>
          <a:prstGeom prst="line">
            <a:avLst/>
          </a:prstGeom>
          <a:noFill/>
          <a:ln w="4445">
            <a:solidFill>
              <a:srgbClr val="264E84"/>
            </a:solidFill>
            <a:round/>
            <a:headEnd/>
            <a:tailEnd/>
          </a:ln>
          <a:effectLst/>
        </p:spPr>
        <p:txBody>
          <a:bodyPr wrap="none" lIns="45720" rIns="45720" anchor="ctr"/>
          <a:lstStyle/>
          <a:p>
            <a:pPr algn="ctr" eaLnBrk="0" hangingPunct="0">
              <a:spcBef>
                <a:spcPct val="50000"/>
              </a:spcBef>
              <a:defRPr/>
            </a:pPr>
            <a:endParaRPr lang="en-US" dirty="0">
              <a:ea typeface="+mn-ea"/>
              <a:cs typeface="+mn-cs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9372600" y="7239000"/>
            <a:ext cx="457200" cy="3048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r" eaLnBrk="0" hangingPunct="0">
              <a:spcBef>
                <a:spcPct val="50000"/>
              </a:spcBef>
              <a:defRPr/>
            </a:pPr>
            <a:fld id="{1B64018E-BFAD-4964-A21F-6FAD78CB9E6B}" type="slidenum">
              <a:rPr lang="en-US">
                <a:ea typeface="+mn-ea"/>
                <a:cs typeface="+mn-cs"/>
              </a:rPr>
              <a:pPr algn="r" eaLnBrk="0" hangingPunct="0">
                <a:spcBef>
                  <a:spcPct val="50000"/>
                </a:spcBef>
                <a:defRPr/>
              </a:pPr>
              <a:t>‹#›</a:t>
            </a:fld>
            <a:endParaRPr lang="en-US" dirty="0">
              <a:ea typeface="+mn-ea"/>
              <a:cs typeface="+mn-cs"/>
            </a:endParaRPr>
          </a:p>
        </p:txBody>
      </p:sp>
      <p:pic>
        <p:nvPicPr>
          <p:cNvPr id="1030" name="Picture 5"/>
          <p:cNvPicPr>
            <a:picLocks noChangeAspect="1" noChangeArrowheads="1"/>
          </p:cNvPicPr>
          <p:nvPr userDrawn="1">
            <p:custDataLst>
              <p:tags r:id="rId17"/>
            </p:custDataLst>
          </p:nvPr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38200" y="6551613"/>
            <a:ext cx="839788" cy="839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jpmDocTracker"/>
          <p:cNvSpPr>
            <a:spLocks noChangeArrowheads="1"/>
          </p:cNvSpPr>
          <p:nvPr userDrawn="1">
            <p:custDataLst>
              <p:tags r:id="rId18"/>
            </p:custDataLst>
          </p:nvPr>
        </p:nvSpPr>
        <p:spPr bwMode="auto">
          <a:xfrm rot="16200000">
            <a:off x="-1344612" y="5248275"/>
            <a:ext cx="3959225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/>
          <a:lstStyle/>
          <a:p>
            <a:pPr eaLnBrk="0" hangingPunct="0">
              <a:lnSpc>
                <a:spcPts val="1200"/>
              </a:lnSpc>
              <a:defRPr/>
            </a:pPr>
            <a:r>
              <a:rPr lang="en-US" sz="900" noProof="1">
                <a:solidFill>
                  <a:srgbClr val="808080"/>
                </a:solidFill>
                <a:ea typeface="LF_Kai" pitchFamily="2" charset="-122"/>
                <a:cs typeface="+mn-cs"/>
              </a:rPr>
              <a:t>U N I V E R S I T Y   O F  C A L I F O R N I A 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4" r:id="rId2"/>
    <p:sldLayoutId id="2147483663" r:id="rId3"/>
    <p:sldLayoutId id="2147483662" r:id="rId4"/>
    <p:sldLayoutId id="2147483661" r:id="rId5"/>
    <p:sldLayoutId id="2147483660" r:id="rId6"/>
    <p:sldLayoutId id="2147483659" r:id="rId7"/>
    <p:sldLayoutId id="2147483658" r:id="rId8"/>
    <p:sldLayoutId id="2147483657" r:id="rId9"/>
    <p:sldLayoutId id="2147483656" r:id="rId10"/>
    <p:sldLayoutId id="2147483655" r:id="rId11"/>
    <p:sldLayoutId id="2147483654" r:id="rId12"/>
    <p:sldLayoutId id="2147483653" r:id="rId13"/>
    <p:sldLayoutId id="2147483652" r:id="rId14"/>
  </p:sldLayoutIdLst>
  <p:hf hdr="0" ftr="0" dt="0"/>
  <p:txStyles>
    <p:titleStyle>
      <a:lvl1pPr algn="l" defTabSz="1019175" rtl="0" eaLnBrk="0" fontAlgn="base" hangingPunct="0">
        <a:lnSpc>
          <a:spcPts val="2788"/>
        </a:lnSpc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+mj-lt"/>
          <a:ea typeface="+mj-ea"/>
          <a:cs typeface="LF_Kai"/>
        </a:defRPr>
      </a:lvl1pPr>
      <a:lvl2pPr algn="l" defTabSz="1019175" rtl="0" eaLnBrk="0" fontAlgn="base" hangingPunct="0">
        <a:lnSpc>
          <a:spcPts val="2788"/>
        </a:lnSpc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Trebuchet MS" pitchFamily="34" charset="0"/>
          <a:ea typeface="LF_Kai" pitchFamily="2" charset="-122"/>
          <a:cs typeface="LF_Kai"/>
        </a:defRPr>
      </a:lvl2pPr>
      <a:lvl3pPr algn="l" defTabSz="1019175" rtl="0" eaLnBrk="0" fontAlgn="base" hangingPunct="0">
        <a:lnSpc>
          <a:spcPts val="2788"/>
        </a:lnSpc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Trebuchet MS" pitchFamily="34" charset="0"/>
          <a:ea typeface="LF_Kai" pitchFamily="2" charset="-122"/>
          <a:cs typeface="LF_Kai"/>
        </a:defRPr>
      </a:lvl3pPr>
      <a:lvl4pPr algn="l" defTabSz="1019175" rtl="0" eaLnBrk="0" fontAlgn="base" hangingPunct="0">
        <a:lnSpc>
          <a:spcPts val="2788"/>
        </a:lnSpc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Trebuchet MS" pitchFamily="34" charset="0"/>
          <a:ea typeface="LF_Kai" pitchFamily="2" charset="-122"/>
          <a:cs typeface="LF_Kai"/>
        </a:defRPr>
      </a:lvl4pPr>
      <a:lvl5pPr algn="l" defTabSz="1019175" rtl="0" eaLnBrk="0" fontAlgn="base" hangingPunct="0">
        <a:lnSpc>
          <a:spcPts val="2788"/>
        </a:lnSpc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Trebuchet MS" pitchFamily="34" charset="0"/>
          <a:ea typeface="LF_Kai" pitchFamily="2" charset="-122"/>
          <a:cs typeface="LF_Kai"/>
        </a:defRPr>
      </a:lvl5pPr>
      <a:lvl6pPr marL="457200" algn="l" defTabSz="1019175" rtl="0" eaLnBrk="0" fontAlgn="base" hangingPunct="0">
        <a:lnSpc>
          <a:spcPts val="2788"/>
        </a:lnSpc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Trebuchet MS" pitchFamily="34" charset="0"/>
          <a:ea typeface="LF_Kai" pitchFamily="2" charset="-122"/>
        </a:defRPr>
      </a:lvl6pPr>
      <a:lvl7pPr marL="914400" algn="l" defTabSz="1019175" rtl="0" eaLnBrk="0" fontAlgn="base" hangingPunct="0">
        <a:lnSpc>
          <a:spcPts val="2788"/>
        </a:lnSpc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Trebuchet MS" pitchFamily="34" charset="0"/>
          <a:ea typeface="LF_Kai" pitchFamily="2" charset="-122"/>
        </a:defRPr>
      </a:lvl7pPr>
      <a:lvl8pPr marL="1371600" algn="l" defTabSz="1019175" rtl="0" eaLnBrk="0" fontAlgn="base" hangingPunct="0">
        <a:lnSpc>
          <a:spcPts val="2788"/>
        </a:lnSpc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Trebuchet MS" pitchFamily="34" charset="0"/>
          <a:ea typeface="LF_Kai" pitchFamily="2" charset="-122"/>
        </a:defRPr>
      </a:lvl8pPr>
      <a:lvl9pPr marL="1828800" algn="l" defTabSz="1019175" rtl="0" eaLnBrk="0" fontAlgn="base" hangingPunct="0">
        <a:lnSpc>
          <a:spcPts val="2788"/>
        </a:lnSpc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Trebuchet MS" pitchFamily="34" charset="0"/>
          <a:ea typeface="LF_Kai" pitchFamily="2" charset="-122"/>
        </a:defRPr>
      </a:lvl9pPr>
    </p:titleStyle>
    <p:bodyStyle>
      <a:lvl1pPr marL="342900" indent="-342900" algn="l" defTabSz="1019175" rtl="0" eaLnBrk="0" fontAlgn="base" hangingPunct="0">
        <a:lnSpc>
          <a:spcPct val="110000"/>
        </a:lnSpc>
        <a:spcBef>
          <a:spcPct val="70000"/>
        </a:spcBef>
        <a:spcAft>
          <a:spcPct val="0"/>
        </a:spcAft>
        <a:buClr>
          <a:srgbClr val="C0C0C0"/>
        </a:buClr>
        <a:buSzPct val="92000"/>
        <a:buFont typeface="Wingdings" pitchFamily="2" charset="2"/>
        <a:defRPr sz="1400">
          <a:solidFill>
            <a:schemeClr val="tx1"/>
          </a:solidFill>
          <a:latin typeface="+mn-lt"/>
          <a:ea typeface="+mn-ea"/>
          <a:cs typeface="LF_Kai"/>
        </a:defRPr>
      </a:lvl1pPr>
      <a:lvl2pPr marL="207963" indent="-206375" algn="l" defTabSz="1019175" rtl="0" eaLnBrk="0" fontAlgn="base" hangingPunct="0">
        <a:lnSpc>
          <a:spcPct val="110000"/>
        </a:lnSpc>
        <a:spcBef>
          <a:spcPct val="70000"/>
        </a:spcBef>
        <a:spcAft>
          <a:spcPct val="0"/>
        </a:spcAft>
        <a:buClr>
          <a:schemeClr val="folHlink"/>
        </a:buClr>
        <a:buSzPct val="175000"/>
        <a:buFont typeface="Arial" charset="0"/>
        <a:buChar char="•"/>
        <a:defRPr sz="1400">
          <a:solidFill>
            <a:schemeClr val="tx1"/>
          </a:solidFill>
          <a:latin typeface="+mn-lt"/>
          <a:ea typeface="+mn-ea"/>
          <a:cs typeface="LF_Kai"/>
        </a:defRPr>
      </a:lvl2pPr>
      <a:lvl3pPr marL="423863" indent="-212725" algn="l" defTabSz="1019175" rtl="0" eaLnBrk="0" fontAlgn="base" hangingPunct="0">
        <a:lnSpc>
          <a:spcPct val="110000"/>
        </a:lnSpc>
        <a:spcBef>
          <a:spcPct val="20000"/>
        </a:spcBef>
        <a:spcAft>
          <a:spcPct val="0"/>
        </a:spcAft>
        <a:buClr>
          <a:srgbClr val="C0C0C0"/>
        </a:buClr>
        <a:buSzPct val="175000"/>
        <a:buFont typeface="Trebuchet MS" pitchFamily="34" charset="0"/>
        <a:buChar char="―"/>
        <a:defRPr sz="1400">
          <a:solidFill>
            <a:schemeClr val="tx1"/>
          </a:solidFill>
          <a:latin typeface="+mn-lt"/>
          <a:ea typeface="+mn-ea"/>
          <a:cs typeface="LF_Kai"/>
        </a:defRPr>
      </a:lvl3pPr>
      <a:lvl4pPr marL="652463" indent="-225425" algn="l" defTabSz="1019175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chemeClr val="bg2"/>
        </a:buClr>
        <a:buChar char="—"/>
        <a:defRPr sz="1400">
          <a:solidFill>
            <a:schemeClr val="tx1"/>
          </a:solidFill>
          <a:latin typeface="+mn-lt"/>
          <a:ea typeface="+mn-ea"/>
          <a:cs typeface="LF_Kai"/>
        </a:defRPr>
      </a:lvl4pPr>
      <a:lvl5pPr marL="879475" indent="-225425" algn="l" defTabSz="1019175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C0C0C0"/>
        </a:buClr>
        <a:buChar char="—"/>
        <a:defRPr sz="1400">
          <a:solidFill>
            <a:schemeClr val="tx1"/>
          </a:solidFill>
          <a:latin typeface="+mn-lt"/>
          <a:ea typeface="+mn-ea"/>
          <a:cs typeface="LF_Kai"/>
        </a:defRPr>
      </a:lvl5pPr>
      <a:lvl6pPr marL="1336675" indent="-225425" algn="l" defTabSz="1019175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C0C0C0"/>
        </a:buClr>
        <a:buChar char="—"/>
        <a:defRPr sz="1400">
          <a:solidFill>
            <a:schemeClr val="tx1"/>
          </a:solidFill>
          <a:latin typeface="+mn-lt"/>
          <a:ea typeface="+mn-ea"/>
        </a:defRPr>
      </a:lvl6pPr>
      <a:lvl7pPr marL="1793875" indent="-225425" algn="l" defTabSz="1019175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C0C0C0"/>
        </a:buClr>
        <a:buChar char="—"/>
        <a:defRPr sz="1400">
          <a:solidFill>
            <a:schemeClr val="tx1"/>
          </a:solidFill>
          <a:latin typeface="+mn-lt"/>
          <a:ea typeface="+mn-ea"/>
        </a:defRPr>
      </a:lvl7pPr>
      <a:lvl8pPr marL="2251075" indent="-225425" algn="l" defTabSz="1019175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C0C0C0"/>
        </a:buClr>
        <a:buChar char="—"/>
        <a:defRPr sz="1400">
          <a:solidFill>
            <a:schemeClr val="tx1"/>
          </a:solidFill>
          <a:latin typeface="+mn-lt"/>
          <a:ea typeface="+mn-ea"/>
        </a:defRPr>
      </a:lvl8pPr>
      <a:lvl9pPr marL="2708275" indent="-225425" algn="l" defTabSz="1019175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C0C0C0"/>
        </a:buClr>
        <a:buChar char="—"/>
        <a:defRPr sz="14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4" Type="http://schemas.openxmlformats.org/officeDocument/2006/relationships/tags" Target="../tags/tag17.xml"/><Relationship Id="rId5" Type="http://schemas.openxmlformats.org/officeDocument/2006/relationships/tags" Target="../tags/tag18.xml"/><Relationship Id="rId6" Type="http://schemas.openxmlformats.org/officeDocument/2006/relationships/tags" Target="../tags/tag19.xml"/><Relationship Id="rId7" Type="http://schemas.openxmlformats.org/officeDocument/2006/relationships/tags" Target="../tags/tag20.xml"/><Relationship Id="rId8" Type="http://schemas.openxmlformats.org/officeDocument/2006/relationships/slideLayout" Target="../slideLayouts/slideLayout1.xml"/><Relationship Id="rId9" Type="http://schemas.openxmlformats.org/officeDocument/2006/relationships/notesSlide" Target="../notesSlides/notesSlide1.xml"/><Relationship Id="rId10" Type="http://schemas.openxmlformats.org/officeDocument/2006/relationships/image" Target="../media/image11.png"/><Relationship Id="rId11" Type="http://schemas.openxmlformats.org/officeDocument/2006/relationships/image" Target="../media/image12.jpeg"/><Relationship Id="rId1" Type="http://schemas.openxmlformats.org/officeDocument/2006/relationships/tags" Target="../tags/tag14.xml"/><Relationship Id="rId2" Type="http://schemas.openxmlformats.org/officeDocument/2006/relationships/tags" Target="../tags/tag1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4" Type="http://schemas.openxmlformats.org/officeDocument/2006/relationships/image" Target="../media/image20.gif"/><Relationship Id="rId1" Type="http://schemas.openxmlformats.org/officeDocument/2006/relationships/tags" Target="../tags/tag28.xml"/><Relationship Id="rId2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4" Type="http://schemas.openxmlformats.org/officeDocument/2006/relationships/image" Target="../media/image21.png"/><Relationship Id="rId1" Type="http://schemas.openxmlformats.org/officeDocument/2006/relationships/tags" Target="../tags/tag29.xml"/><Relationship Id="rId2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4" Type="http://schemas.openxmlformats.org/officeDocument/2006/relationships/image" Target="../media/image22.jpeg"/><Relationship Id="rId1" Type="http://schemas.openxmlformats.org/officeDocument/2006/relationships/tags" Target="../tags/tag30.xml"/><Relationship Id="rId2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4" Type="http://schemas.openxmlformats.org/officeDocument/2006/relationships/image" Target="../media/image23.jpeg"/><Relationship Id="rId1" Type="http://schemas.openxmlformats.org/officeDocument/2006/relationships/tags" Target="../tags/tag31.xml"/><Relationship Id="rId2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4" Type="http://schemas.openxmlformats.org/officeDocument/2006/relationships/image" Target="../media/image24.jpeg"/><Relationship Id="rId1" Type="http://schemas.openxmlformats.org/officeDocument/2006/relationships/tags" Target="../tags/tag32.xml"/><Relationship Id="rId2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tags" Target="../tags/tag33.xml"/><Relationship Id="rId2" Type="http://schemas.openxmlformats.org/officeDocument/2006/relationships/slideLayout" Target="../slideLayouts/slideLayout12.xml"/><Relationship Id="rId3" Type="http://schemas.openxmlformats.org/officeDocument/2006/relationships/notesSlide" Target="../notesSlides/notesSlide1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4" Type="http://schemas.openxmlformats.org/officeDocument/2006/relationships/image" Target="../media/image25.gif"/><Relationship Id="rId5" Type="http://schemas.openxmlformats.org/officeDocument/2006/relationships/image" Target="../media/image26.jpeg"/><Relationship Id="rId6" Type="http://schemas.openxmlformats.org/officeDocument/2006/relationships/image" Target="../media/image27.jpeg"/><Relationship Id="rId7" Type="http://schemas.openxmlformats.org/officeDocument/2006/relationships/image" Target="../media/image28.gif"/><Relationship Id="rId1" Type="http://schemas.openxmlformats.org/officeDocument/2006/relationships/tags" Target="../tags/tag34.xml"/><Relationship Id="rId2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4" Type="http://schemas.openxmlformats.org/officeDocument/2006/relationships/image" Target="../media/image29.jpeg"/><Relationship Id="rId1" Type="http://schemas.openxmlformats.org/officeDocument/2006/relationships/tags" Target="../tags/tag35.xml"/><Relationship Id="rId2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tags" Target="../tags/tag36.xml"/><Relationship Id="rId2" Type="http://schemas.openxmlformats.org/officeDocument/2006/relationships/slideLayout" Target="../slideLayouts/slideLayout12.xml"/><Relationship Id="rId3" Type="http://schemas.openxmlformats.org/officeDocument/2006/relationships/notesSlide" Target="../notesSlides/notesSlide1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4" Type="http://schemas.openxmlformats.org/officeDocument/2006/relationships/hyperlink" Target="../Agendas/Town%20Hall%20Agenda_2011-07-22%20v2.docx" TargetMode="External"/><Relationship Id="rId1" Type="http://schemas.openxmlformats.org/officeDocument/2006/relationships/tags" Target="../tags/tag21.xml"/><Relationship Id="rId2" Type="http://schemas.openxmlformats.org/officeDocument/2006/relationships/slideLayout" Target="../slideLayouts/slideLayout1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tags" Target="../tags/tag37.xml"/><Relationship Id="rId2" Type="http://schemas.openxmlformats.org/officeDocument/2006/relationships/slideLayout" Target="../slideLayouts/slideLayout12.xml"/><Relationship Id="rId3" Type="http://schemas.openxmlformats.org/officeDocument/2006/relationships/notesSlide" Target="../notesSlides/notesSlide18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4" Type="http://schemas.openxmlformats.org/officeDocument/2006/relationships/image" Target="../media/image30.jpeg"/><Relationship Id="rId5" Type="http://schemas.openxmlformats.org/officeDocument/2006/relationships/image" Target="../media/image31.jpeg"/><Relationship Id="rId1" Type="http://schemas.openxmlformats.org/officeDocument/2006/relationships/tags" Target="../tags/tag38.xml"/><Relationship Id="rId2" Type="http://schemas.openxmlformats.org/officeDocument/2006/relationships/slideLayout" Target="../slideLayouts/slideLayout1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4" Type="http://schemas.openxmlformats.org/officeDocument/2006/relationships/image" Target="../media/image32.gif"/><Relationship Id="rId5" Type="http://schemas.openxmlformats.org/officeDocument/2006/relationships/image" Target="../media/image33.png"/><Relationship Id="rId1" Type="http://schemas.openxmlformats.org/officeDocument/2006/relationships/tags" Target="../tags/tag39.xml"/><Relationship Id="rId2" Type="http://schemas.openxmlformats.org/officeDocument/2006/relationships/slideLayout" Target="../slideLayouts/slideLayout1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4" Type="http://schemas.openxmlformats.org/officeDocument/2006/relationships/image" Target="../media/image34.emf"/><Relationship Id="rId1" Type="http://schemas.openxmlformats.org/officeDocument/2006/relationships/tags" Target="../tags/tag40.xml"/><Relationship Id="rId2" Type="http://schemas.openxmlformats.org/officeDocument/2006/relationships/slideLayout" Target="../slideLayouts/slideLayout1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tags" Target="../tags/tag41.xml"/><Relationship Id="rId2" Type="http://schemas.openxmlformats.org/officeDocument/2006/relationships/slideLayout" Target="../slideLayouts/slideLayout12.xml"/><Relationship Id="rId3" Type="http://schemas.openxmlformats.org/officeDocument/2006/relationships/notesSlide" Target="../notesSlides/notesSlide2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tags" Target="../tags/tag42.xml"/><Relationship Id="rId2" Type="http://schemas.openxmlformats.org/officeDocument/2006/relationships/slideLayout" Target="../slideLayouts/slideLayout12.xml"/><Relationship Id="rId3" Type="http://schemas.openxmlformats.org/officeDocument/2006/relationships/notesSlide" Target="../notesSlides/notesSlide23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4" Type="http://schemas.openxmlformats.org/officeDocument/2006/relationships/tags" Target="../tags/tag46.xml"/><Relationship Id="rId5" Type="http://schemas.openxmlformats.org/officeDocument/2006/relationships/tags" Target="../tags/tag47.xml"/><Relationship Id="rId6" Type="http://schemas.openxmlformats.org/officeDocument/2006/relationships/tags" Target="../tags/tag48.xml"/><Relationship Id="rId7" Type="http://schemas.openxmlformats.org/officeDocument/2006/relationships/tags" Target="../tags/tag49.xml"/><Relationship Id="rId8" Type="http://schemas.openxmlformats.org/officeDocument/2006/relationships/slideLayout" Target="../slideLayouts/slideLayout1.xml"/><Relationship Id="rId9" Type="http://schemas.openxmlformats.org/officeDocument/2006/relationships/notesSlide" Target="../notesSlides/notesSlide24.xml"/><Relationship Id="rId10" Type="http://schemas.openxmlformats.org/officeDocument/2006/relationships/image" Target="../media/image11.png"/><Relationship Id="rId11" Type="http://schemas.openxmlformats.org/officeDocument/2006/relationships/image" Target="../media/image12.jpeg"/><Relationship Id="rId1" Type="http://schemas.openxmlformats.org/officeDocument/2006/relationships/tags" Target="../tags/tag43.xml"/><Relationship Id="rId2" Type="http://schemas.openxmlformats.org/officeDocument/2006/relationships/tags" Target="../tags/tag44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tags" Target="../tags/tag50.xml"/><Relationship Id="rId2" Type="http://schemas.openxmlformats.org/officeDocument/2006/relationships/slideLayout" Target="../slideLayouts/slideLayout12.xml"/><Relationship Id="rId3" Type="http://schemas.openxmlformats.org/officeDocument/2006/relationships/notesSlide" Target="../notesSlides/notesSlide2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6.xml"/><Relationship Id="rId4" Type="http://schemas.openxmlformats.org/officeDocument/2006/relationships/image" Target="../media/image35.wmf"/><Relationship Id="rId1" Type="http://schemas.openxmlformats.org/officeDocument/2006/relationships/tags" Target="../tags/tag51.xml"/><Relationship Id="rId2" Type="http://schemas.openxmlformats.org/officeDocument/2006/relationships/slideLayout" Target="../slideLayouts/slideLayout1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tags" Target="../tags/tag52.xml"/><Relationship Id="rId2" Type="http://schemas.openxmlformats.org/officeDocument/2006/relationships/slideLayout" Target="../slideLayouts/slideLayout12.xml"/><Relationship Id="rId3" Type="http://schemas.openxmlformats.org/officeDocument/2006/relationships/notesSlide" Target="../notesSlides/notesSlide27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tags" Target="../tags/tag53.xml"/><Relationship Id="rId2" Type="http://schemas.openxmlformats.org/officeDocument/2006/relationships/slideLayout" Target="../slideLayouts/slideLayout12.xml"/><Relationship Id="rId3" Type="http://schemas.openxmlformats.org/officeDocument/2006/relationships/notesSlide" Target="../notesSlides/notesSlide28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9.xml"/><Relationship Id="rId4" Type="http://schemas.openxmlformats.org/officeDocument/2006/relationships/diagramData" Target="../diagrams/data1.xml"/><Relationship Id="rId5" Type="http://schemas.openxmlformats.org/officeDocument/2006/relationships/diagramLayout" Target="../diagrams/layout1.xml"/><Relationship Id="rId6" Type="http://schemas.openxmlformats.org/officeDocument/2006/relationships/diagramQuickStyle" Target="../diagrams/quickStyle1.xml"/><Relationship Id="rId7" Type="http://schemas.openxmlformats.org/officeDocument/2006/relationships/diagramColors" Target="../diagrams/colors1.xml"/><Relationship Id="rId8" Type="http://schemas.microsoft.com/office/2007/relationships/diagramDrawing" Target="../diagrams/drawing1.xml"/><Relationship Id="rId1" Type="http://schemas.openxmlformats.org/officeDocument/2006/relationships/tags" Target="../tags/tag54.xml"/><Relationship Id="rId2" Type="http://schemas.openxmlformats.org/officeDocument/2006/relationships/slideLayout" Target="../slideLayouts/slideLayout1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tags" Target="../tags/tag55.xml"/><Relationship Id="rId2" Type="http://schemas.openxmlformats.org/officeDocument/2006/relationships/slideLayout" Target="../slideLayouts/slideLayout12.xml"/><Relationship Id="rId3" Type="http://schemas.openxmlformats.org/officeDocument/2006/relationships/notesSlide" Target="../notesSlides/notesSlide30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1.xml"/><Relationship Id="rId4" Type="http://schemas.openxmlformats.org/officeDocument/2006/relationships/hyperlink" Target="http://www.ucop.edu/riskmgt/erm/riskmitwb.html" TargetMode="External"/><Relationship Id="rId5" Type="http://schemas.openxmlformats.org/officeDocument/2006/relationships/image" Target="../media/image36.png"/><Relationship Id="rId1" Type="http://schemas.openxmlformats.org/officeDocument/2006/relationships/tags" Target="../tags/tag56.xml"/><Relationship Id="rId2" Type="http://schemas.openxmlformats.org/officeDocument/2006/relationships/slideLayout" Target="../slideLayouts/slideLayout1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tags" Target="../tags/tag57.xml"/><Relationship Id="rId2" Type="http://schemas.openxmlformats.org/officeDocument/2006/relationships/slideLayout" Target="../slideLayouts/slideLayout12.xml"/><Relationship Id="rId3" Type="http://schemas.openxmlformats.org/officeDocument/2006/relationships/notesSlide" Target="../notesSlides/notesSlide32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3.xml"/><Relationship Id="rId4" Type="http://schemas.openxmlformats.org/officeDocument/2006/relationships/hyperlink" Target="http://www.ucop.edu/riskmgt/erm/riskmitwb.html" TargetMode="External"/><Relationship Id="rId1" Type="http://schemas.openxmlformats.org/officeDocument/2006/relationships/tags" Target="../tags/tag58.xml"/><Relationship Id="rId2" Type="http://schemas.openxmlformats.org/officeDocument/2006/relationships/slideLayout" Target="../slideLayouts/slideLayout12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4.xml"/><Relationship Id="rId4" Type="http://schemas.openxmlformats.org/officeDocument/2006/relationships/image" Target="../media/image37.wmf"/><Relationship Id="rId1" Type="http://schemas.openxmlformats.org/officeDocument/2006/relationships/tags" Target="../tags/tag59.xml"/><Relationship Id="rId2" Type="http://schemas.openxmlformats.org/officeDocument/2006/relationships/slideLayout" Target="../slideLayouts/slideLayout12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tags" Target="../tags/tag60.xml"/><Relationship Id="rId2" Type="http://schemas.openxmlformats.org/officeDocument/2006/relationships/slideLayout" Target="../slideLayouts/slideLayout12.xml"/><Relationship Id="rId3" Type="http://schemas.openxmlformats.org/officeDocument/2006/relationships/notesSlide" Target="../notesSlides/notesSlide3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tags" Target="../tags/tag22.xml"/><Relationship Id="rId2" Type="http://schemas.openxmlformats.org/officeDocument/2006/relationships/slideLayout" Target="../slideLayouts/slideLayout12.xml"/><Relationship Id="rId3" Type="http://schemas.openxmlformats.org/officeDocument/2006/relationships/notesSlide" Target="../notesSlides/notesSlide3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tags" Target="../tags/tag61.xml"/><Relationship Id="rId2" Type="http://schemas.openxmlformats.org/officeDocument/2006/relationships/slideLayout" Target="../slideLayouts/slideLayout12.xml"/><Relationship Id="rId3" Type="http://schemas.openxmlformats.org/officeDocument/2006/relationships/notesSlide" Target="../notesSlides/notesSlide36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7.xml"/><Relationship Id="rId4" Type="http://schemas.openxmlformats.org/officeDocument/2006/relationships/diagramData" Target="../diagrams/data2.xml"/><Relationship Id="rId5" Type="http://schemas.openxmlformats.org/officeDocument/2006/relationships/diagramLayout" Target="../diagrams/layout2.xml"/><Relationship Id="rId6" Type="http://schemas.openxmlformats.org/officeDocument/2006/relationships/diagramQuickStyle" Target="../diagrams/quickStyle2.xml"/><Relationship Id="rId7" Type="http://schemas.openxmlformats.org/officeDocument/2006/relationships/diagramColors" Target="../diagrams/colors2.xml"/><Relationship Id="rId8" Type="http://schemas.microsoft.com/office/2007/relationships/diagramDrawing" Target="../diagrams/drawing2.xml"/><Relationship Id="rId1" Type="http://schemas.openxmlformats.org/officeDocument/2006/relationships/tags" Target="../tags/tag62.xml"/><Relationship Id="rId2" Type="http://schemas.openxmlformats.org/officeDocument/2006/relationships/slideLayout" Target="../slideLayouts/slideLayout12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8.xml"/><Relationship Id="rId4" Type="http://schemas.openxmlformats.org/officeDocument/2006/relationships/hyperlink" Target="http://www.universityofcalifornia.edu/regents/policies/5100.html" TargetMode="External"/><Relationship Id="rId5" Type="http://schemas.openxmlformats.org/officeDocument/2006/relationships/image" Target="../media/image38.png"/><Relationship Id="rId6" Type="http://schemas.openxmlformats.org/officeDocument/2006/relationships/image" Target="../media/image39.png"/><Relationship Id="rId1" Type="http://schemas.openxmlformats.org/officeDocument/2006/relationships/tags" Target="../tags/tag63.xml"/><Relationship Id="rId2" Type="http://schemas.openxmlformats.org/officeDocument/2006/relationships/slideLayout" Target="../slideLayouts/slideLayout12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9.xml"/><Relationship Id="rId4" Type="http://schemas.openxmlformats.org/officeDocument/2006/relationships/hyperlink" Target="http://www.ucop.edu/ucoptravel/" TargetMode="External"/><Relationship Id="rId5" Type="http://schemas.openxmlformats.org/officeDocument/2006/relationships/hyperlink" Target="mailto:UCTravel@ucop.edu" TargetMode="External"/><Relationship Id="rId6" Type="http://schemas.openxmlformats.org/officeDocument/2006/relationships/image" Target="../media/image40.png"/><Relationship Id="rId7" Type="http://schemas.openxmlformats.org/officeDocument/2006/relationships/image" Target="../media/image41.png"/><Relationship Id="rId1" Type="http://schemas.openxmlformats.org/officeDocument/2006/relationships/tags" Target="../tags/tag64.xml"/><Relationship Id="rId2" Type="http://schemas.openxmlformats.org/officeDocument/2006/relationships/slideLayout" Target="../slideLayouts/slideLayout12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tags" Target="../tags/tag65.xml"/><Relationship Id="rId2" Type="http://schemas.openxmlformats.org/officeDocument/2006/relationships/slideLayout" Target="../slideLayouts/slideLayout12.xml"/><Relationship Id="rId3" Type="http://schemas.openxmlformats.org/officeDocument/2006/relationships/notesSlide" Target="../notesSlides/notesSlide40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1.xml"/><Relationship Id="rId4" Type="http://schemas.openxmlformats.org/officeDocument/2006/relationships/hyperlink" Target="http://www.ucop.edu/ucoptravel/" TargetMode="External"/><Relationship Id="rId5" Type="http://schemas.openxmlformats.org/officeDocument/2006/relationships/hyperlink" Target="mailto:UCTravel@ucop.edu" TargetMode="External"/><Relationship Id="rId1" Type="http://schemas.openxmlformats.org/officeDocument/2006/relationships/tags" Target="../tags/tag66.xml"/><Relationship Id="rId2" Type="http://schemas.openxmlformats.org/officeDocument/2006/relationships/slideLayout" Target="../slideLayouts/slideLayout12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2.xml"/><Relationship Id="rId4" Type="http://schemas.openxmlformats.org/officeDocument/2006/relationships/image" Target="../media/image42.wmf"/><Relationship Id="rId1" Type="http://schemas.openxmlformats.org/officeDocument/2006/relationships/tags" Target="../tags/tag67.xml"/><Relationship Id="rId2" Type="http://schemas.openxmlformats.org/officeDocument/2006/relationships/slideLayout" Target="../slideLayouts/slideLayout12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tags" Target="../tags/tag68.xml"/><Relationship Id="rId2" Type="http://schemas.openxmlformats.org/officeDocument/2006/relationships/slideLayout" Target="../slideLayouts/slideLayout12.xml"/><Relationship Id="rId3" Type="http://schemas.openxmlformats.org/officeDocument/2006/relationships/notesSlide" Target="../notesSlides/notesSlide43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tags" Target="../tags/tag69.xml"/><Relationship Id="rId2" Type="http://schemas.openxmlformats.org/officeDocument/2006/relationships/slideLayout" Target="../slideLayouts/slideLayout12.xml"/><Relationship Id="rId3" Type="http://schemas.openxmlformats.org/officeDocument/2006/relationships/notesSlide" Target="../notesSlides/notesSlide44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5.xml"/><Relationship Id="rId4" Type="http://schemas.openxmlformats.org/officeDocument/2006/relationships/diagramData" Target="../diagrams/data3.xml"/><Relationship Id="rId5" Type="http://schemas.openxmlformats.org/officeDocument/2006/relationships/diagramLayout" Target="../diagrams/layout3.xml"/><Relationship Id="rId6" Type="http://schemas.openxmlformats.org/officeDocument/2006/relationships/diagramQuickStyle" Target="../diagrams/quickStyle3.xml"/><Relationship Id="rId7" Type="http://schemas.openxmlformats.org/officeDocument/2006/relationships/diagramColors" Target="../diagrams/colors3.xml"/><Relationship Id="rId8" Type="http://schemas.microsoft.com/office/2007/relationships/diagramDrawing" Target="../diagrams/drawing3.xml"/><Relationship Id="rId1" Type="http://schemas.openxmlformats.org/officeDocument/2006/relationships/tags" Target="../tags/tag70.xml"/><Relationship Id="rId2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tags" Target="../tags/tag23.xml"/><Relationship Id="rId2" Type="http://schemas.openxmlformats.org/officeDocument/2006/relationships/slideLayout" Target="../slideLayouts/slideLayout12.xml"/><Relationship Id="rId3" Type="http://schemas.openxmlformats.org/officeDocument/2006/relationships/notesSlide" Target="../notesSlides/notesSlide4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6.xml"/><Relationship Id="rId4" Type="http://schemas.openxmlformats.org/officeDocument/2006/relationships/hyperlink" Target="http://www.universityofcalifornia.edu/regents/meetings.html" TargetMode="External"/><Relationship Id="rId5" Type="http://schemas.openxmlformats.org/officeDocument/2006/relationships/image" Target="../media/image43.png"/><Relationship Id="rId1" Type="http://schemas.openxmlformats.org/officeDocument/2006/relationships/tags" Target="../tags/tag71.xml"/><Relationship Id="rId2" Type="http://schemas.openxmlformats.org/officeDocument/2006/relationships/slideLayout" Target="../slideLayouts/slideLayout12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7.xml"/><Relationship Id="rId4" Type="http://schemas.openxmlformats.org/officeDocument/2006/relationships/hyperlink" Target="http://www.universityofcalifornia.edu/finreports/index.php?file=debtcapital/debtcapital_2010.pdf" TargetMode="External"/><Relationship Id="rId5" Type="http://schemas.openxmlformats.org/officeDocument/2006/relationships/hyperlink" Target="mailto:Allen.Yin@ucop.edu" TargetMode="External"/><Relationship Id="rId6" Type="http://schemas.openxmlformats.org/officeDocument/2006/relationships/image" Target="../media/image44.png"/><Relationship Id="rId1" Type="http://schemas.openxmlformats.org/officeDocument/2006/relationships/tags" Target="../tags/tag72.xml"/><Relationship Id="rId2" Type="http://schemas.openxmlformats.org/officeDocument/2006/relationships/slideLayout" Target="../slideLayouts/slideLayout12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tags" Target="../tags/tag73.xml"/><Relationship Id="rId2" Type="http://schemas.openxmlformats.org/officeDocument/2006/relationships/slideLayout" Target="../slideLayouts/slideLayout12.xml"/><Relationship Id="rId3" Type="http://schemas.openxmlformats.org/officeDocument/2006/relationships/notesSlide" Target="../notesSlides/notesSlide48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9.xml"/><Relationship Id="rId4" Type="http://schemas.openxmlformats.org/officeDocument/2006/relationships/hyperlink" Target="http://www.ucop.edu/capmarketsfin/documents/capital-markets-finance-guide.pdf" TargetMode="External"/><Relationship Id="rId1" Type="http://schemas.openxmlformats.org/officeDocument/2006/relationships/tags" Target="../tags/tag74.xml"/><Relationship Id="rId2" Type="http://schemas.openxmlformats.org/officeDocument/2006/relationships/slideLayout" Target="../slideLayouts/slideLayout12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0.xml"/><Relationship Id="rId4" Type="http://schemas.openxmlformats.org/officeDocument/2006/relationships/image" Target="../media/image34.emf"/><Relationship Id="rId1" Type="http://schemas.openxmlformats.org/officeDocument/2006/relationships/tags" Target="../tags/tag75.xml"/><Relationship Id="rId2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tags" Target="../tags/tag24.xml"/><Relationship Id="rId2" Type="http://schemas.openxmlformats.org/officeDocument/2006/relationships/slideLayout" Target="../slideLayouts/slideLayout12.xml"/><Relationship Id="rId3" Type="http://schemas.openxmlformats.org/officeDocument/2006/relationships/notesSlide" Target="../notesSlides/notesSlide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tags" Target="../tags/tag25.xml"/><Relationship Id="rId2" Type="http://schemas.openxmlformats.org/officeDocument/2006/relationships/slideLayout" Target="../slideLayouts/slideLayout12.xml"/><Relationship Id="rId3" Type="http://schemas.openxmlformats.org/officeDocument/2006/relationships/notesSlide" Target="../notesSlides/notesSlide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4" Type="http://schemas.openxmlformats.org/officeDocument/2006/relationships/image" Target="../media/image13.jpeg"/><Relationship Id="rId1" Type="http://schemas.openxmlformats.org/officeDocument/2006/relationships/tags" Target="../tags/tag26.xml"/><Relationship Id="rId2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4" Type="http://schemas.openxmlformats.org/officeDocument/2006/relationships/image" Target="../media/image14.jpeg"/><Relationship Id="rId5" Type="http://schemas.openxmlformats.org/officeDocument/2006/relationships/image" Target="../media/image15.jpeg"/><Relationship Id="rId6" Type="http://schemas.openxmlformats.org/officeDocument/2006/relationships/image" Target="../media/image16.jpeg"/><Relationship Id="rId7" Type="http://schemas.openxmlformats.org/officeDocument/2006/relationships/hyperlink" Target="http://en.wikipedia.org/wiki/File:Venus_de_Milo_Louvre_Ma399_n4.jpg" TargetMode="External"/><Relationship Id="rId8" Type="http://schemas.openxmlformats.org/officeDocument/2006/relationships/image" Target="../media/image17.jpeg"/><Relationship Id="rId9" Type="http://schemas.openxmlformats.org/officeDocument/2006/relationships/image" Target="../media/image18.jpeg"/><Relationship Id="rId10" Type="http://schemas.openxmlformats.org/officeDocument/2006/relationships/image" Target="../media/image19.jpeg"/><Relationship Id="rId1" Type="http://schemas.openxmlformats.org/officeDocument/2006/relationships/tags" Target="../tags/tag27.xml"/><Relationship Id="rId2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0" y="6446838"/>
            <a:ext cx="10058400" cy="1325562"/>
          </a:xfrm>
          <a:prstGeom prst="rect">
            <a:avLst/>
          </a:prstGeom>
          <a:solidFill>
            <a:schemeClr val="bg2">
              <a:lumMod val="75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lIns="50941" tIns="50941" rIns="50941" bIns="50941" anchor="ctr"/>
          <a:lstStyle/>
          <a:p>
            <a:pPr algn="ctr" eaLnBrk="0" hangingPunct="0">
              <a:spcBef>
                <a:spcPct val="50000"/>
              </a:spcBef>
              <a:defRPr/>
            </a:pPr>
            <a:endParaRPr lang="en-US">
              <a:ea typeface="+mn-ea"/>
              <a:cs typeface="+mn-cs"/>
            </a:endParaRPr>
          </a:p>
        </p:txBody>
      </p:sp>
      <p:sp>
        <p:nvSpPr>
          <p:cNvPr id="18435" name="Rectangle 4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98438" y="3124200"/>
            <a:ext cx="9639300" cy="304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50936" tIns="0" rIns="50936" bIns="0" anchor="ctr"/>
          <a:lstStyle/>
          <a:p>
            <a:pPr algn="ctr" defTabSz="1355725" eaLnBrk="0" hangingPunct="0"/>
            <a:endParaRPr lang="en-US" dirty="0" smtClean="0"/>
          </a:p>
          <a:p>
            <a:pPr algn="ctr" defTabSz="1355725" eaLnBrk="0" hangingPunct="0"/>
            <a:endParaRPr lang="en-US" sz="2200" dirty="0" smtClean="0"/>
          </a:p>
          <a:p>
            <a:pPr algn="ctr" defTabSz="1355725" eaLnBrk="0" hangingPunct="0"/>
            <a:endParaRPr lang="en-US" sz="2200" dirty="0" smtClean="0"/>
          </a:p>
          <a:p>
            <a:pPr algn="ctr" defTabSz="1355725" eaLnBrk="0" hangingPunct="0"/>
            <a:endParaRPr lang="en-US" sz="3000" dirty="0" smtClean="0">
              <a:solidFill>
                <a:schemeClr val="accent1"/>
              </a:solidFill>
            </a:endParaRPr>
          </a:p>
          <a:p>
            <a:pPr algn="ctr" defTabSz="1355725" eaLnBrk="0" hangingPunct="0"/>
            <a:r>
              <a:rPr lang="en-US" sz="2400" dirty="0" smtClean="0">
                <a:solidFill>
                  <a:schemeClr val="accent1"/>
                </a:solidFill>
              </a:rPr>
              <a:t>Managers’ Town Hall</a:t>
            </a:r>
          </a:p>
          <a:p>
            <a:pPr algn="ctr" defTabSz="1355725" eaLnBrk="0" hangingPunct="0"/>
            <a:endParaRPr lang="en-US" sz="1000" dirty="0" smtClean="0"/>
          </a:p>
          <a:p>
            <a:pPr algn="ctr" defTabSz="1355725" eaLnBrk="0" hangingPunct="0"/>
            <a:r>
              <a:rPr lang="en-US" sz="1600" dirty="0" smtClean="0">
                <a:solidFill>
                  <a:schemeClr val="accent1"/>
                </a:solidFill>
              </a:rPr>
              <a:t>July 22, 2011</a:t>
            </a:r>
          </a:p>
          <a:p>
            <a:pPr algn="ctr" defTabSz="1355725" eaLnBrk="0" hangingPunct="0"/>
            <a:r>
              <a:rPr lang="en-US" sz="1600" dirty="0" smtClean="0">
                <a:solidFill>
                  <a:schemeClr val="accent1"/>
                </a:solidFill>
              </a:rPr>
              <a:t>Franklin Lobby Conference Room</a:t>
            </a:r>
          </a:p>
          <a:p>
            <a:pPr algn="ctr" defTabSz="1355725" eaLnBrk="0" hangingPunct="0"/>
            <a:r>
              <a:rPr lang="en-US" sz="1600" dirty="0" smtClean="0">
                <a:solidFill>
                  <a:schemeClr val="accent1"/>
                </a:solidFill>
              </a:rPr>
              <a:t>2:00-3:30 p.m.</a:t>
            </a:r>
            <a:endParaRPr lang="en-US" sz="1600" dirty="0">
              <a:solidFill>
                <a:schemeClr val="accent1"/>
              </a:solidFill>
            </a:endParaRPr>
          </a:p>
        </p:txBody>
      </p:sp>
      <p:pic>
        <p:nvPicPr>
          <p:cNvPr id="18436" name="Picture 5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94113" y="433388"/>
            <a:ext cx="2671762" cy="275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Rectangle 7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0" y="0"/>
            <a:ext cx="10058400" cy="250825"/>
          </a:xfrm>
          <a:prstGeom prst="rect">
            <a:avLst/>
          </a:prstGeom>
          <a:solidFill>
            <a:schemeClr val="bg2">
              <a:lumMod val="75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lIns="50941" tIns="50941" rIns="50941" bIns="50941" anchor="ctr"/>
          <a:lstStyle/>
          <a:p>
            <a:pPr algn="ctr" eaLnBrk="0" hangingPunct="0">
              <a:spcBef>
                <a:spcPct val="50000"/>
              </a:spcBef>
              <a:defRPr/>
            </a:pPr>
            <a:endParaRPr lang="en-US">
              <a:ea typeface="+mn-ea"/>
              <a:cs typeface="+mn-cs"/>
            </a:endParaRPr>
          </a:p>
        </p:txBody>
      </p:sp>
      <p:sp>
        <p:nvSpPr>
          <p:cNvPr id="18438" name="Rectangle 8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 rot="10800000">
            <a:off x="0" y="6365875"/>
            <a:ext cx="10058400" cy="74613"/>
          </a:xfrm>
          <a:prstGeom prst="rect">
            <a:avLst/>
          </a:prstGeom>
          <a:solidFill>
            <a:srgbClr val="FFCC00"/>
          </a:solidFill>
          <a:ln w="9525">
            <a:noFill/>
            <a:miter lim="800000"/>
            <a:headEnd/>
            <a:tailEnd/>
          </a:ln>
        </p:spPr>
        <p:txBody>
          <a:bodyPr wrap="none" lIns="50941" tIns="50941" rIns="50941" bIns="50941" anchor="ctr"/>
          <a:lstStyle/>
          <a:p>
            <a:pPr algn="ctr" eaLnBrk="0" hangingPunct="0">
              <a:spcBef>
                <a:spcPct val="50000"/>
              </a:spcBef>
            </a:pPr>
            <a:endParaRPr lang="en-US"/>
          </a:p>
        </p:txBody>
      </p:sp>
      <p:sp>
        <p:nvSpPr>
          <p:cNvPr id="18439" name="Rectangle 9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 rot="10800000">
            <a:off x="0" y="185738"/>
            <a:ext cx="10058400" cy="74612"/>
          </a:xfrm>
          <a:prstGeom prst="rect">
            <a:avLst/>
          </a:prstGeom>
          <a:solidFill>
            <a:srgbClr val="FFCC00"/>
          </a:solidFill>
          <a:ln w="9525">
            <a:noFill/>
            <a:miter lim="800000"/>
            <a:headEnd/>
            <a:tailEnd/>
          </a:ln>
        </p:spPr>
        <p:txBody>
          <a:bodyPr wrap="none" lIns="50941" tIns="50941" rIns="50941" bIns="50941" anchor="ctr"/>
          <a:lstStyle/>
          <a:p>
            <a:pPr algn="ctr" eaLnBrk="0" hangingPunct="0">
              <a:spcBef>
                <a:spcPct val="50000"/>
              </a:spcBef>
            </a:pPr>
            <a:endParaRPr lang="en-US"/>
          </a:p>
        </p:txBody>
      </p:sp>
      <p:pic>
        <p:nvPicPr>
          <p:cNvPr id="8" name="Picture 3"/>
          <p:cNvPicPr>
            <a:picLocks noChangeAspect="1" noChangeArrowheads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362200" y="3352800"/>
            <a:ext cx="5412013" cy="121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custDataLst>
      <p:tags r:id="rId1"/>
    </p:custData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Rectangle 2"/>
          <p:cNvSpPr>
            <a:spLocks noGrp="1" noChangeArrowheads="1"/>
          </p:cNvSpPr>
          <p:nvPr>
            <p:ph type="title"/>
          </p:nvPr>
        </p:nvSpPr>
        <p:spPr>
          <a:xfrm>
            <a:off x="762000" y="838200"/>
            <a:ext cx="3733800" cy="288925"/>
          </a:xfrm>
        </p:spPr>
        <p:txBody>
          <a:bodyPr/>
          <a:lstStyle/>
          <a:p>
            <a:pPr lvl="1"/>
            <a:r>
              <a:rPr lang="en-US" sz="2300" dirty="0" smtClean="0"/>
              <a:t>Also here to talk about… </a:t>
            </a:r>
          </a:p>
        </p:txBody>
      </p:sp>
      <p:sp>
        <p:nvSpPr>
          <p:cNvPr id="56" name="TextBox 55"/>
          <p:cNvSpPr txBox="1"/>
          <p:nvPr/>
        </p:nvSpPr>
        <p:spPr>
          <a:xfrm rot="233865">
            <a:off x="5286126" y="655755"/>
            <a:ext cx="808076" cy="307777"/>
          </a:xfrm>
          <a:prstGeom prst="rect">
            <a:avLst/>
          </a:prstGeom>
          <a:noFill/>
          <a:ln w="5080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Values</a:t>
            </a:r>
          </a:p>
        </p:txBody>
      </p:sp>
      <p:pic>
        <p:nvPicPr>
          <p:cNvPr id="91138" name="Picture 2" descr="http://hearingpracticebuilders.com/segment%5B1%5D-1.gif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362200" y="1524000"/>
            <a:ext cx="5715000" cy="4138450"/>
          </a:xfrm>
          <a:prstGeom prst="rect">
            <a:avLst/>
          </a:prstGeom>
          <a:noFill/>
        </p:spPr>
      </p:pic>
      <p:sp>
        <p:nvSpPr>
          <p:cNvPr id="6" name="Rectangle 5"/>
          <p:cNvSpPr/>
          <p:nvPr/>
        </p:nvSpPr>
        <p:spPr>
          <a:xfrm>
            <a:off x="2590800" y="5486400"/>
            <a:ext cx="5460149" cy="124649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5500" dirty="0" smtClean="0">
                <a:solidFill>
                  <a:schemeClr val="accent1"/>
                </a:solidFill>
              </a:rPr>
              <a:t>Customer groups</a:t>
            </a:r>
          </a:p>
          <a:p>
            <a:pPr algn="ctr"/>
            <a:r>
              <a:rPr lang="en-US" sz="2000" dirty="0" smtClean="0">
                <a:solidFill>
                  <a:schemeClr val="accent1"/>
                </a:solidFill>
              </a:rPr>
              <a:t>(and possible customer service survey)</a:t>
            </a:r>
            <a:endParaRPr lang="en-US" sz="2000" dirty="0">
              <a:solidFill>
                <a:schemeClr val="accent1"/>
              </a:solidFill>
            </a:endParaRPr>
          </a:p>
        </p:txBody>
      </p:sp>
    </p:spTree>
    <p:custDataLst>
      <p:tags r:id="rId1"/>
    </p:custDataLst>
  </p:cSld>
  <p:clrMapOvr>
    <a:masterClrMapping/>
  </p:clrMapOvr>
  <p:transition xmlns:p14="http://schemas.microsoft.com/office/powerpoint/2010/main">
    <p:cut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5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>
              <a:lnSpc>
                <a:spcPct val="100000"/>
              </a:lnSpc>
              <a:spcBef>
                <a:spcPct val="20000"/>
              </a:spcBef>
              <a:buClrTx/>
              <a:buSzPct val="25000"/>
              <a:defRPr/>
            </a:pPr>
            <a:r>
              <a:rPr lang="en-US" dirty="0" smtClean="0">
                <a:latin typeface="Trebuchet MS" pitchFamily="34" charset="0"/>
                <a:cs typeface="Arial" charset="0"/>
              </a:rPr>
              <a:t>CFO Division’s Role in UCOP Leadership Development Program</a:t>
            </a:r>
          </a:p>
          <a:p>
            <a:pPr lvl="0">
              <a:lnSpc>
                <a:spcPct val="100000"/>
              </a:lnSpc>
              <a:spcBef>
                <a:spcPct val="20000"/>
              </a:spcBef>
              <a:buClrTx/>
              <a:buSzPct val="25000"/>
              <a:defRPr/>
            </a:pPr>
            <a:endParaRPr lang="en-US" i="1" dirty="0" smtClean="0">
              <a:latin typeface="Trebuchet MS" pitchFamily="34" charset="0"/>
              <a:cs typeface="Arial" charset="0"/>
            </a:endParaRPr>
          </a:p>
          <a:p>
            <a:pPr lvl="0">
              <a:lnSpc>
                <a:spcPct val="100000"/>
              </a:lnSpc>
              <a:spcBef>
                <a:spcPct val="20000"/>
              </a:spcBef>
              <a:buClrTx/>
              <a:buSzPct val="25000"/>
              <a:defRPr/>
            </a:pPr>
            <a:r>
              <a:rPr lang="en-US" i="1" dirty="0" smtClean="0">
                <a:latin typeface="Trebuchet MS" pitchFamily="34" charset="0"/>
                <a:cs typeface="Arial" charset="0"/>
              </a:rPr>
              <a:t>Linda Klink</a:t>
            </a:r>
          </a:p>
          <a:p>
            <a:pPr lvl="0">
              <a:lnSpc>
                <a:spcPct val="100000"/>
              </a:lnSpc>
              <a:spcBef>
                <a:spcPct val="20000"/>
              </a:spcBef>
              <a:buClrTx/>
              <a:buSzPct val="25000"/>
              <a:defRPr/>
            </a:pPr>
            <a:r>
              <a:rPr lang="en-US" sz="1400" i="1" dirty="0" smtClean="0">
                <a:latin typeface="Trebuchet MS" pitchFamily="34" charset="0"/>
                <a:cs typeface="Arial" charset="0"/>
              </a:rPr>
              <a:t>Learning &amp; Development Coordinator</a:t>
            </a:r>
          </a:p>
          <a:p>
            <a:pPr lvl="0">
              <a:lnSpc>
                <a:spcPct val="100000"/>
              </a:lnSpc>
              <a:spcBef>
                <a:spcPct val="20000"/>
              </a:spcBef>
              <a:buClrTx/>
              <a:buSzPct val="25000"/>
              <a:defRPr/>
            </a:pPr>
            <a:r>
              <a:rPr lang="en-US" sz="1400" i="1" dirty="0" smtClean="0">
                <a:latin typeface="Trebuchet MS" pitchFamily="34" charset="0"/>
                <a:cs typeface="Arial" charset="0"/>
              </a:rPr>
              <a:t>UCOP Local HR</a:t>
            </a: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Rectangle 2"/>
          <p:cNvSpPr>
            <a:spLocks noGrp="1" noChangeArrowheads="1"/>
          </p:cNvSpPr>
          <p:nvPr>
            <p:ph type="title"/>
          </p:nvPr>
        </p:nvSpPr>
        <p:spPr>
          <a:xfrm>
            <a:off x="762000" y="609600"/>
            <a:ext cx="8534400" cy="288925"/>
          </a:xfrm>
        </p:spPr>
        <p:txBody>
          <a:bodyPr/>
          <a:lstStyle/>
          <a:p>
            <a:pPr lvl="1"/>
            <a:r>
              <a:rPr lang="en-US" sz="2300" dirty="0" smtClean="0"/>
              <a:t>What’s LDP?  </a:t>
            </a:r>
          </a:p>
        </p:txBody>
      </p:sp>
      <p:sp>
        <p:nvSpPr>
          <p:cNvPr id="56" name="TextBox 55"/>
          <p:cNvSpPr txBox="1"/>
          <p:nvPr/>
        </p:nvSpPr>
        <p:spPr>
          <a:xfrm rot="233865">
            <a:off x="5286126" y="655755"/>
            <a:ext cx="808076" cy="307777"/>
          </a:xfrm>
          <a:prstGeom prst="rect">
            <a:avLst/>
          </a:prstGeom>
          <a:noFill/>
          <a:ln w="5080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Values</a:t>
            </a:r>
          </a:p>
        </p:txBody>
      </p:sp>
      <p:pic>
        <p:nvPicPr>
          <p:cNvPr id="5" name="Picture 4"/>
          <p:cNvPicPr/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90599" y="1043765"/>
            <a:ext cx="8329919" cy="6327202"/>
          </a:xfrm>
          <a:prstGeom prst="rect">
            <a:avLst/>
          </a:prstGeom>
          <a:noFill/>
          <a:ln w="101600">
            <a:solidFill>
              <a:schemeClr val="bg1">
                <a:lumMod val="85000"/>
              </a:schemeClr>
            </a:solidFill>
            <a:miter lim="800000"/>
            <a:headEnd/>
            <a:tailEnd/>
          </a:ln>
        </p:spPr>
      </p:pic>
    </p:spTree>
    <p:custDataLst>
      <p:tags r:id="rId1"/>
    </p:custDataLst>
  </p:cSld>
  <p:clrMapOvr>
    <a:masterClrMapping/>
  </p:clrMapOvr>
  <p:transition xmlns:p14="http://schemas.microsoft.com/office/powerpoint/2010/main">
    <p:cut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Rectangle 2"/>
          <p:cNvSpPr>
            <a:spLocks noGrp="1" noChangeArrowheads="1"/>
          </p:cNvSpPr>
          <p:nvPr>
            <p:ph type="title"/>
          </p:nvPr>
        </p:nvSpPr>
        <p:spPr>
          <a:xfrm>
            <a:off x="762000" y="838200"/>
            <a:ext cx="7696200" cy="288925"/>
          </a:xfrm>
        </p:spPr>
        <p:txBody>
          <a:bodyPr/>
          <a:lstStyle/>
          <a:p>
            <a:pPr lvl="1"/>
            <a:r>
              <a:rPr lang="en-US" sz="2300" dirty="0" smtClean="0"/>
              <a:t>Why are we talking about LDP today?</a:t>
            </a:r>
          </a:p>
        </p:txBody>
      </p:sp>
      <p:sp>
        <p:nvSpPr>
          <p:cNvPr id="93186" name="AutoShape 2" descr="data:image/jpg;base64,/9j/4AAQSkZJRgABAQAAAQABAAD/2wCEAAkGBhQSDhQQEA8QEBQUEBkQFA4QFhEQFBAQFBwWFRUQFRQYHycqFxkjGRUTHy8iIycsLCwsFR4xQTIqNSYrLSkBCQoKBQUFDQUFDSkYEhgpKSkpKSkpKSkpKSkpKSkpKSkpKSkpKSkpKSkpKSkpKSkpKSkpKSkpKSkpKSkpKSkpKf/AABEIAMwA9wMBIgACEQEDEQH/xAAbAAACAwEBAQAAAAAAAAAAAAAABAMFBgECB//EAEkQAAIBAQMEDQkIAQMDBQEAAAECAwAEERIFEyFTBhQVIzEzUVJzkZKT0iIyQVRxsbLR0wc0QmFiY3Kis0OBoSR0dRY1NsHCCP/EABQBAQAAAAAAAAAAAAAAAAAAAAD/xAAUEQEAAAAAAAAAAAAAAAAAAAAA/9oADAMBAAIRAxEAPwD7PLaXzhRERrkViWcp5xYXABTzf+a5nJtXF3j/AE67H94foo/ilpqgUzk2ri7x/p0ZybVxd4/06booFM5Nq4u8f6dGcm1cXeP9Om6KBTOTauLvH+nRnJtXF3j/AE6booFM5Nq4u8f6dGcm1cXeP9Om6KBTOTauLvH+nRnJtXF3j/TrL5O+0FpctS5KNjwtCpkefPBlzVyFXC4LyTnI9HovOnRV3YNl1kmWV4bVFKsK4pShLZpdOluTzT1Ggdzk2ri7x/p0ZybVxd4/06rZNnNhWBLQ1tgELsUSYtcjuvnKG4CR/wDR5KnynssslnEZtFqihEq4o84cOcGjzb+HhGj86BvOTauLvH+nRnJtXF3j/TqOfL0CWiOzPMizSrijhN+J106VHpHknqqHZRsijsNjltc2IpGAcK6WdmIVUH5liBQNZybVxd4/06M5Nq4u8f6dYXYr9sAtNshslpsEtia0xCazu7iRZkYMVbzVuDBWuOm8i6qu1f8A9ARLLI0eT55bLHMIXtiuo8psWErGRpvCORew0D0UH07OTauLvH+nRnJtXF3j/TrH7LPtjsNiiVlfbUsiJIlniNzZuRQ6u7Eb2CjAgHSbxo9Ij2WfbNZLEqLcbROwUtZYmF8IYBt8e64EXjRw/kKDaZybVxd4/wBOjOTauLvH+nTQNdoFM5Nq4u8f6dGcm1cXeP8ATpuigUzk2ri7x/p0ZybVxd4/06booFM5Nq4u8f6dGcm1cXeP9Om6KBTOTauLvH+nRnJtXF3j/TpuigWs1oYuyOiqQqterFwQxYelRd5v/NFcj+8P0UfxS0UBH94foo/ilpqlY/vD9FH8UtNUBRRRQFFFFAUUUUBRRRQfJtjv/wA5yh/2Q+Gx1P8AZMdGWf8AyU3/AOqNhViefZPlDKcattUxbWSZlZBLKogVgmIDEAYXvI/Llq+H2evFPa3sVuazJbWMk0LRJNhka/FJC5YYCcR4Qw6hQfNNkf8A8Lyb/wB2nvtNfTPtY2ObcyTMqm6WAbbhN9xDxXkge1cS+0jkrxsk+zGO05Ns+TYp2s8NnZXBwCV3KBlUkkgaS7k6NJPopj/0VO00882UM7JLYmsKnMIiQxu2JmCB/KY/meTkuoEfs0tj5QUZXnW5mgWxwryLHcbTLcDozk4YfxiWtXsgyLBarM0FrQPCbnZWZox5BxAllIIAIv4fRSOwfYtudYlsYmz6ozFHKCMgOS5U3E3+UW06OGvOz/ItoteTZrLZJEiklATHIWVc2SM4pKgnSt44PTQfKNg9lGU9kBtkCFLFk6IQ2cHEd7jVo7OgLabz5chvvI4Dw18/yd/7Ba//ACFl+C019m+znYRlbJ7xwSTZP2mHd5o4gxlkLKbjiMYvN+AcPAt1Ze0fYdlBBNYoJrIbJLaUnz0hkEqiISKgKheG6Q3gX3kDSNNAl9p2S4l2O5JtCwxrK8MKvMqqHdRZxcGYC9rsK3X8F1TfbrkyJLPk2ZIY0kkRs5KiqrS3JBdjYDyrrzw8tbn7QvsymteS7HYbJJENq4VxTlkxIkebB8lW0nQaj+077NrTlGz2KKzvZ1azKwcys6gkrGow4UN+lDw3eig+lrwV2uCu0BRRRQFFFFAUUUUBRRRQKx/eH6KP4paKI/vD9FH8UtFBE8xW0PdG771HpUxi7ypecwqXbjery9cHjoRv+ofoo/ilpLZRY89Y5IlMt7YQDCY8YuZTiukIV1F17KfOUMum+6gd22/q8vXB46NuN6vL1weOvncOxm1XPnLLGpkzUxWJohEjR2aeJogpbyTnGW4C8DH51wJGm2FZJls2ejm0qrJFBKSpaSzIt8eO4+egbNknhzd/poL7bjery9cHjo243q8vXB46ZxjlFUmzHJW2rC9mUm+Ro1xIQGjGcQmUEkaVALcuigstuN6vL1weOjbjery9cHjr53FsZtmcd7TDtgSSvJLEjxYZJpbJCiugZh5CTCdBfcRjVrvSHtj2xy1w2yB5TnUJU2h2dTdaYbKIBaUBN5Ehd1bRffGhu0mg223G9Xl64PHRtxvV5euDx0xjHKK7jHKKBbbbery9cHjo22/q8vXB46zuXtjQmyhFKIUZTZ5xLKSuic7W2uTeb9Gae64XDTzjfl//AEraTHZcVlJzUMEMqE2aQsYbLaonNzOAymWWIAk+jFoABoPpW3G9Xl64PHRtxvV5euDx1NEwwjgGgaL77vyvr3jHKKBbbjery9cHjo22/q8vXB46yez3Y5NaZFay6C9knsssiuEZL83PAwvIv32HBo9ExqqtOxm0GYytZsRlsV7qu12CWyV7TK6B2cFcBmj8pb8QQLwUH0Hbjery9cHjo243q8vXB46zmwTJMsAkzq5lGis6LAWVrpo4gs81ykhcTYRoOnNk+nTrMY5RQLbcb1eXrg8dG239Xl64PHXu1QJIhjkCurC5kPAw5DyivmE2wu07TjWODNynJ1viluaC9rRNm1gQnHdeVQjEOD0kUH0zbjery9cHjo243q8vXB46yWxzIU0dsxPFgRbRaZw+KMqUnWEIoAN+IYXBF1wwfmL9tjHKKBbbjery9cHjo22/q8vXB46YxjlFfPdkWxSeaXKEixK2cezmAERFnwizrI6uXGFQElBQ3Yr7+Sg3W3G9Xl64PHRtxvV5euDx1kth+RZ4bYzzxYFFmkhxhozGzm1TyjNqGJSMxyIVU+aLlvJWtrjHKKBfbjery9cHjo243q8vXB46ZxjlFZjZ3k2SeFBAhkdHMixnNtDI2BkzVoVmXyGDsMS6UNzeigvttt6vL1weOjbjery9cHjr59lLY5aZXtDtZseeezWlAXibMyJaFE0VzPdi2qkIJGgiMjhYg/RbNCkaLGgCqihFUcCqouAH+1AvZZS08l6Mm9x6GwG/TLzWNFSRH/qH6KP4paKCM2ZGtD40Rroo/OUNd5UvLU250Wpj7C/KvMf3h+ij+KWmqBfc6LUx9hflRudFqY+wvypiigrrZk+O+Peo+NH4F5G/KmdzotTH2F+Vebbwx9KPc1NUC+50Wpj7C/Kjc6LUx9hflTFFAq+TorjvMXBzF+VQ2DJ8eZj3qPi1/AvIPyp5+A+yocn8TH0a+4UBudFqY+wvyo3Oi1MfYX5UxRQL7nRamPsL8qVsmT48cu9R8aPwLq4vyqypSx+fN0o/xxUHvc6LUx9hflRudFqY+wvypiigX3Oi1MfYX5UtJk+PPoM1H5j/AIF5Y/yqxpWXj4/4P746D1udFqY+wvyo3Oi1MfYX5UxRQL7nRamPsL8qWyjk+MQvvUfBzF+VWNK5T4l/ZQLSmBbQlnMK45EaRd6GHCmENe911/lDRw03udFqY+wvypa15NdrXDOsiKsSupjKMzPnMN5DhgFuwj8J9NWNAvudFqY+wvyrm50Wpj7C/KmaKCpgssawu+11kIkluREjLNdI9yi+4dZAr3kzMzxCRYFXynQo6IGSSNmjdDdeLwysLwSDdoJFdzLvZpEhlEMjPKFlK5zAxkfysN4vu9tS5GsBhgWIlDhvF8augN5JvON3JY33lixJJJ9NBLudFqY+wvyo3Oi1MfYX5UxRQJWaBVncIqrvUfmgLfpl5KK9x/eH6KP4paKAj+8P0UfxS01Ve9mDWhyS4uiTzXkT8UvoUi+oMmzQzhs29ovRgrJI1rhdSQGF6SEG4ggg3XUFvRSu5y86XvZ/FRucvOl72fxUBbeGPpR7mpqqy2ZPW+PypeNA42fkb9Vcvhz+1s7Jnc0Zs3nbReIwQuI+Vo0kDTw6eQ0FpRSu5y86XvZ/FRucvOl72fxUDD8B9lQ5P4mPo19wrw+TluPlS8Gtn8VVrSwwwQmRrR5YVFWM2yZmbAXICR4j5qseD0UF7RSi5PUi/FN/vLOP+MVd3OXnS97P4qBqlLH583Sj/HFXdzl50vez+KkM1HGJ5JJJFRJLyxln0DNxcjaT/wA0FzRSFmsySIHU2gAi8B3tUTf7o5BH+4qXc5edL3s/ioGqVl4+P+D++Ojc5edL3s/ipaTJ655Bil8x/wDVn5Y/1UFnRVPHaIWtG18VqElzMA+3UVlQqGZZGuVgC68BPnCntzl50vez+KgapXKfEv7KNzl50vez+Klso5PUQucUvBrZ/FQWdFU9qtMEcqxPLMHbDoD2pgucYpHjcG5MTgquIi8i4U9ucvOl72fxUDVcpbc5edL3s/io3OXnS97P4qAyd5h6WX/I9NVTJHFFA8skkqqskhLZ2c6BI40ANeSdAuGkk1PYFimjzkbzFbyumS0oyspKsrKzAqQQRcRQWVFK7nLzpe9n8VG5y86XvZ/FQEf3h+ij+KWio7LAFnkALHe4/OZ39MvOJurtB6Xj5LuHNJdfy3y0lkDJskbTySiNDNKJc1E7zKpwqrNnHVSSSOC64AC7009H94foo/ilpqgKKKKBW28MfSj3NVbZ9jWC37aWWQqyTY43IN8kpgII8m/CFhu0nRhQDQKsrbwx9KPc1NUBRRRQeX4D7KoMsZJe0WKJI0jZwgKSSSSwmBzGUEyNGpJYYjovF950ir9+A+yocn8TH0a+4UEsSkKATiIABY6MRHpr3RRQFUeVcmG0Q2iJSt+fjkAYsqsYhZ5QjFdIDYMJI0gG/TV5Slj8+bpR/jioIcgWB4bOI5CCcbsFVmdY0d2dIVZgCyopCgkDzeADQLGiigKVl4+P+D++OmqVl4+P+D++OghsuTmFpltEhUllWKIC/e4VGI33/iaRmJu9Cx8lWFFFAUrlPiX9lNUrlPiX9lBTZY2OSS22O0KUAXM3MWdWjzUrSSDNgXTB1KqMZGAriGmtHRRQFFFFBVS2ITWWWIqHxPLcpZovLEjlTnFBKEMAcQBIuvr1seyU0EJV2xO8rzOcTP5TknDiYAtcMIvuF919w4Azk7zD0sv+R6aoCiiigVj+8P0UfxS0UR/eH6KP4paKCJoS1oe6R03qPQojN/lS85TUu1G18vVD4KE49+ij+KWsFbYGay3CK1OBugIQ8dqZ1tkkoexS+WMQOAvhkOhb+EGg3u1G18vVD4KNqNr5eqHwUyvBprtBWWyytfHv8vGj0Q8jfopnaja+Xqh8FFt4Y+lHuaqdyBb7ViFpwtYogWUWrDiUzYhEyi4NhePRGcRJ5RQXG1G18vVD4KNqNr5eqHwUpsVJ3PswYOrCzRqyyK6OHVQrBlYAg3g8NWtAo9ka47/LwckPgqGwWVszHv8ALxa+iHkH6KffgPsrPZe+4QECYkTWV7oRM5uWSJnLLECSuAOSCLtHsoLnaja+Xqh8FG1G18vVD4KpMlopynM6QyQ4Y2jYmKZBanLIzTNIVwsFuCppJ8qT8N1+loFdqNr5eqHwUrZLK2Obf5eNHoh1cX6KtKrZLsFpxY7sRvzecx3ZqPzc35V/8dNAxtRtfL1Q+Cjaja+Xqh8FZGzw4hkwiGXPpHCJC0FoSQRqjKwM7ACNVbGWQ6X8kaL1v3FArtRtfL1Q+ClpLK2fTf5fMf0Q8sf6Ks6Vl4+P+D++OgNqNr5eqHwUbUbXy9UPgrP2mKZrZa0s+cUvHZ/LlNpjjuUy55YZSrBWwsnmaAWvuvvqz2IxOuTrMsqlHWzorIS5KkKBccQBvuuvvHDfw8NA7tRtfL1Q+Clso2Vsy+/y8HJD4Ks6VynxL+ygNqNr5eqHwUbUbXy9UPgqpyyP+vg4+42edGZFndFxBMN4UFQ2hrr9Po9NR7BYM3Z3jCAIkgRJhDJZWtCiOO+V45NOLFiUn04KC62o2vl6ofBRtRtfL1Q+CmqKCssFlbAd/l42T0Q6x/0UztRtfL1Q+CoobsxJixXY5r8GPFdjkvw4PKvu4MOnk01jbAJg1gYxO+CyWSNY54J2Ky42jtjlzdmZEQI2JxewW4X3m8NvtRtfL1Q+Cjaja+Xqh8FNUUCNliKzyXuz73HpbALtMvNArte4/vD9FH8UtFAR/eH6KP4paapBse2HwYOKjvxYudLyVLv37X96Bqild+/a/vRv37X96AtvDH0o9zU1VbbM7fHxXGjn8jUxv37X96Bqild+/a/vRv37X96Bh+A+yocn8TH0a+4V4fO3HiuD9dQ2DO5mPiuLXn8goLGild+/a/vRv37X96BqlLH583Sj/HFXd+/a/vS1kzuObiuNHP1cVBZ0Urvv7X96N+/a/vQNUrLx8f8AB/fHRv37X96XlzufTivMfn8sdBZUUrv37X96N+/a/vQNUrlPiX9lG/ftf3pfKOdzL8VwfroLKild+/a/vRv37X96Bqild+/a/vRv37X96Ayf5h6WX/I9NVWZPzuA8VxsnP1j0zvv7X96Bqild+/a/vRv37X96Aj+8P0UfxS0VHZcWfkx4eKjuw38svLXaD2nHv0UfxS1lpbbJJY2C2yQzm3TWWF4jEuJzI6pjUKb1jjUuRw4YzWpj+8P0UfxS1LFZEXzY0XTi8lVGm66/R6btFB7QXAC8m4XXm68/mbq9UUUCtt4Y+lHuas3l/K8iS2tEtAF0FkMaEoubaaaSJ/KuJQMAgLkHBeGuN1x0lt4Y+lHuapGsaEsTGhLLhYlVJZToKk+kXAaPyoK3Ypa2ksitIzMwkljJYqxGblkQJjGh8IULi/Fhv8ATVxXmOMKoVQFAFwVQAABwAAcAr1QeX4D7KosrWxorHZ3WbNb/ZUYnB5cbyRI8flcF6s3Bp0VevwH2UrZbOrwRh0Vxm1NzAML8N19x9poKLI1un3RkhlZ2GCaRhigeNFEqLZcAQ4o74i4IcC9ozdfcTWpqOOBVLFVVSxxMVABZuC83cJqSgKqLbaESK0vLM0CBwWlQgMowQ6F0HSeAAC8k6NN1W9JWeIM0ysoYGUXqwBB3uLhBoMfZMrziWIPaWLA2YLBihfOx2iedJBIUG+OkKLeVNwaFjwE372oEsUYKlY4wUvCkKowBvOC6NF/puqegKVl4+P+D++OmqVl4+P+D++OgzNuykwktpgtrYYrNIWLtC4jtS3FViUjQEW9WvvF7qNLK12oyfNjhje8NijVsQuN5IGnRQbBHexzUd7C5jhW9hw3E3adIHVU0cYUBVAUDQFAAAHIAKD1SuU+Jf2U1SuU+Jf2UFRlu2XW2COO0sj3h5IS0YjFm8oM7qwvLMblW433reNCvXvYjazJHK4naeIzbw8jI7mLAl7EqB5LOJGW/ThYcAIAuJLIjMGaNGYcDMqkj06CeCuwWVEvCIiXm8hFC3nlN1BLRRRQVjzKllleSUwopmLTAgGNQ8l7gkG672Vm0yhIIrLIbW+I2tUzbSQs+1pZykayRBd8coVQ6QU0t5RU4tZYkBjYMAQZZQQdIIzj6CK9pk+JSpWKMFb8JCqCuLhwm7Rf+VAxRRRQKx/eH6KP4paKI/vD9FH8UtFBE0rC0PhjL71HpvUXeVLy1Ltl9Se0leWYCWQsbgIUJOkXC+a81hJbfM1ikksUkkkJnzoAtDPPCiiERxMzksodhJIy33gMF0XtcG92xJqD2ko2xJqD2kpkV2grbZaHvj3k8aPxJyNTG2X1J7SUW3hj6Ue5qymW7Sj2u0Rx202ZkszJK0k8qrnHERQpFjGBUQEl0w8Zwk47g1e2H1J7SUbYk1B7SUnsVtOOyI1x8+RQxklnEgV3USrJISzIwAYXngYXXi41bUCj2h7jvJ4OclQ2C0PmY95PFr+JOQU+/AfZWW2U2pFsESGVoZJFCQyiWSzrHKU46RlIBVBe2Fr7yAACSKDQ7Yk1J7SUbYk1B7SVnNjmUXa3zLI2cLGYkB5f+njilVYFaInCokiZXVgAThY+VebtbQK7Yk1B7SUtZLQ+ObeTxo/Emriqzqkynao44LU85cRhxizbPG58iEBVZSCCSQOEDTpIF9BY7ZfUntJRtiTUHtJWXyVAZGsaraJZGVTPLLFaJ5IhCjMI7OSGwynGwTEwJZYHv03VsqBXbEmoPaSl5LQ+fTeT5j/iTljqypWXj4/4P746A2y+pPaSjbEmpPaSsTlnKKma0Zi0sgWSOKVJJ5rjJn487IVxXwQKt8ZZbgc4dFygnVbFJmawws5ctg0s5LFriQGDHS6kAFWOkrcTpJoHNsSag9pKXyjaHzL7yeDnJVlSuU+Jf2UBth9Se0lG2H1J7SVQ7IrSu3YIY7QYJyMeJpXWPNnGqpmS2GV3fRdcSApN4IW/mwSWRklxPnIwyKkmee1q8gRc80czgYlLXcGgHFwG8AL/AGxJqD2ko2xJqD2kpqigrMn2h8B3k8bJ+JNY9M7ZfUntJS+NBZpDK5RMcuNwzR4Vzj3tjUgr7QRdWIsVukvjBnlJEsYsuGWZ0nvtjraMBJ3+MQZsXvfcl5Fw00G/2xJqD2ko2xJqD2kpqigRssjGeTEmDeo9F4N+mXkrte4/vD9FH8UtFAR/eH6KP4paapB7SFtD3hzfFH5qSP8Ail9Kg1LuivNl7qfw0DVFK7orzZe6n8NG6K82Xup/DQFt4Y+lHuamqrLZlBb4/Jl40Hip+Rv00zuivNl7qfw0DVFK7orzZe6n8NG6K82Xup/DQMPwH2VDk/iY+jX3CvD5RW4+TLwaqfw1DYMoLmY/Jl4tf9KfkH6aCxopXdFebL3U/ho3RXmy91P4aBqlLH583Sj/ABxV3dFebL3U/hpWyZQXHL5MvGj/AEp9XF+mgtKKV3RXmy91P4aN0V5svdT+GgapWXj4/wCD++OjdFebL3U/hpaTKC59Dhl8x/8ASn5Y/wBNBZ0UruivNl7qfw0borzZe6n8NA1SuU+Jf2UborzZe6n8NLZRygphcYZeDVT+Ggs6KV3RXmy91P4aN0V5svdT+GgaopXdFebL3U/ho3RXmy91P4aAyf5h6WX/ACPTVVtitoVSCso3yQ8VNwM7EHzeQimN0V5svdT+GgaopXdFebL3U/ho3RXmy91P4aAj+8P0UfxS0VHZZw08hAYb3H5yunpl5wF9doPace/RR++Ws2mVLQglRpsTRZQs0V80ceNrPO8KMRmiFAYu5U3EgC4i/SNIovncHSM0guPp0y0uuxuyiPNCyWfN487m82mHOAXB7rvOAAAPoAHJQWIrtFFArbeGPpR7mpqlbbwx9KPc1NUBRRRQeX4D7KhyfxMfRr7hUz8B9lQ5P4mPo19woGKKKKApSx+fN0o/xxU3Slj8+bpR/jioG6KKKApWXj4/4P746apWXj4/4P746BqiiigKVynxL+ymqVynxL+ygaoqqyjbLQryCOHEqwl0IXEWkANy3Y1v03DDovvvxClLLb7aSMdniUZ3Cbr783jhGIeVzHmOnV8A4CGgorPPly2AkDJZIBcBs/HpCC8NddwPwL+fDcNNRTZatocFbBemZDmMkFhKTpjx4gDcLuBeXhoNNRWbbLNtJI2jm1uUh8SzkG/SMAZMRuI9IAuJvPBXVy5bMRG5puvOEmVV0KwAv0HhGn/jTw0GjorO2fLdsJIbJ5QXMQ2NTdcGwrd+I4govvA0k8FxMliyra2mVZLEEjbCMQkDFD5RZjo0i7ALtGkNpN4oLSP7w/RR/FLRRH94foo/ilooIzaUW0PjdVvijuxELf5UvLU26MWuj7a/OpytcwDkFBDujFro+2vzo3Ri10fbX51NgHIKMA5BQIWy3x3x77HxoPnryN+dM7oxa6Ptr86nwDkFcwDkFBDujFro+2vzo3Ri10fbX51NgHIKMA5BQLvlCK477Hwc9fnUNgyhHmY99j4tfxLyD86ewDkFGAcgoId0YtdH21+dG6MWuj7a/OpsA5BRgHIKCHdGLXR9tfnStkt8eOXfY+NH4l1cX51YYByCu4ByCgg3Ri10fbX50boxa6Ptr86mwDkFGAcgoId0YtdH21+dLSW+PPoc7H5j/jXlT86fwDkFdwDkFBBujFro+2vzo3Ri10fbX51NgHIKMA5BQQ7oxa6Ptr86Wyjb4zC4EsfBz1+dP4ByCu4ByCgg3Ri1sfbX50boxa6Ptr86mwDkFGAcgoId0YtdH21+dG6MWtj7a/OpsA5BRgHIKCHdGLXR9tfnRujFrY+2vzqbAOQUYByCgh3Ri1sfbX50boxa6Ptr86mwDkFGAcgoFLNOrTuVZW3uPzSGu0y8lFOAUUH/2Q=="/>
          <p:cNvSpPr>
            <a:spLocks noChangeAspect="1" noChangeArrowheads="1"/>
          </p:cNvSpPr>
          <p:nvPr/>
        </p:nvSpPr>
        <p:spPr bwMode="auto">
          <a:xfrm>
            <a:off x="79375" y="-939800"/>
            <a:ext cx="2352675" cy="1943100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3188" name="AutoShape 4" descr="data:image/jpg;base64,/9j/4AAQSkZJRgABAQAAAQABAAD/2wCEAAkGBhQSDhQQEA8QEBQUEBkQFA4QFhEQFBAQFBwWFRUQFRQYHycqFxkjGRUTHy8iIycsLCwsFR4xQTIqNSYrLSkBCQoKBQUFDQUFDSkYEhgpKSkpKSkpKSkpKSkpKSkpKSkpKSkpKSkpKSkpKSkpKSkpKSkpKSkpKSkpKSkpKSkpKf/AABEIAMwA9wMBIgACEQEDEQH/xAAbAAACAwEBAQAAAAAAAAAAAAAABAMFBgECB//EAEkQAAIBAQMEDQkIAQMDBQEAAAECAwAEERIFEyFTBhQVIzEzUVJzkZKT0iIyQVRxsbLR0wc0QmFiY3Kis0OBoSR0dRY1NsHCCP/EABQBAQAAAAAAAAAAAAAAAAAAAAD/xAAUEQEAAAAAAAAAAAAAAAAAAAAA/9oADAMBAAIRAxEAPwD7PLaXzhRERrkViWcp5xYXABTzf+a5nJtXF3j/AE67H94foo/ilpqgUzk2ri7x/p0ZybVxd4/06booFM5Nq4u8f6dGcm1cXeP9Om6KBTOTauLvH+nRnJtXF3j/AE6booFM5Nq4u8f6dGcm1cXeP9Om6KBTOTauLvH+nRnJtXF3j/TrL5O+0FpctS5KNjwtCpkefPBlzVyFXC4LyTnI9HovOnRV3YNl1kmWV4bVFKsK4pShLZpdOluTzT1Ggdzk2ri7x/p0ZybVxd4/06rZNnNhWBLQ1tgELsUSYtcjuvnKG4CR/wDR5KnynssslnEZtFqihEq4o84cOcGjzb+HhGj86BvOTauLvH+nRnJtXF3j/TqOfL0CWiOzPMizSrijhN+J106VHpHknqqHZRsijsNjltc2IpGAcK6WdmIVUH5liBQNZybVxd4/06M5Nq4u8f6dYXYr9sAtNshslpsEtia0xCazu7iRZkYMVbzVuDBWuOm8i6qu1f8A9ARLLI0eT55bLHMIXtiuo8psWErGRpvCORew0D0UH07OTauLvH+nRnJtXF3j/TrH7LPtjsNiiVlfbUsiJIlniNzZuRQ6u7Eb2CjAgHSbxo9Ij2WfbNZLEqLcbROwUtZYmF8IYBt8e64EXjRw/kKDaZybVxd4/wBOjOTauLvH+nTQNdoFM5Nq4u8f6dGcm1cXeP8ATpuigUzk2ri7x/p0ZybVxd4/06booFM5Nq4u8f6dGcm1cXeP9Om6KBTOTauLvH+nRnJtXF3j/TpuigWs1oYuyOiqQqterFwQxYelRd5v/NFcj+8P0UfxS0UBH94foo/ilpqlY/vD9FH8UtNUBRRRQFFFFAUUUUBRRRQfJtjv/wA5yh/2Q+Gx1P8AZMdGWf8AyU3/AOqNhViefZPlDKcattUxbWSZlZBLKogVgmIDEAYXvI/Llq+H2evFPa3sVuazJbWMk0LRJNhka/FJC5YYCcR4Qw6hQfNNkf8A8Lyb/wB2nvtNfTPtY2ObcyTMqm6WAbbhN9xDxXkge1cS+0jkrxsk+zGO05Ns+TYp2s8NnZXBwCV3KBlUkkgaS7k6NJPopj/0VO00882UM7JLYmsKnMIiQxu2JmCB/KY/meTkuoEfs0tj5QUZXnW5mgWxwryLHcbTLcDozk4YfxiWtXsgyLBarM0FrQPCbnZWZox5BxAllIIAIv4fRSOwfYtudYlsYmz6ozFHKCMgOS5U3E3+UW06OGvOz/ItoteTZrLZJEiklATHIWVc2SM4pKgnSt44PTQfKNg9lGU9kBtkCFLFk6IQ2cHEd7jVo7OgLabz5chvvI4Dw18/yd/7Ba//ACFl+C019m+znYRlbJ7xwSTZP2mHd5o4gxlkLKbjiMYvN+AcPAt1Ze0fYdlBBNYoJrIbJLaUnz0hkEqiISKgKheG6Q3gX3kDSNNAl9p2S4l2O5JtCwxrK8MKvMqqHdRZxcGYC9rsK3X8F1TfbrkyJLPk2ZIY0kkRs5KiqrS3JBdjYDyrrzw8tbn7QvsymteS7HYbJJENq4VxTlkxIkebB8lW0nQaj+077NrTlGz2KKzvZ1azKwcys6gkrGow4UN+lDw3eig+lrwV2uCu0BRRRQFFFFAUUUUBRRRQKx/eH6KP4paKI/vD9FH8UtFBE8xW0PdG771HpUxi7ypecwqXbjery9cHjoRv+ofoo/ilpLZRY89Y5IlMt7YQDCY8YuZTiukIV1F17KfOUMum+6gd22/q8vXB46NuN6vL1weOvncOxm1XPnLLGpkzUxWJohEjR2aeJogpbyTnGW4C8DH51wJGm2FZJls2ejm0qrJFBKSpaSzIt8eO4+egbNknhzd/poL7bjery9cHjo243q8vXB46ZxjlFUmzHJW2rC9mUm+Ro1xIQGjGcQmUEkaVALcuigstuN6vL1weOjbjery9cHjr53FsZtmcd7TDtgSSvJLEjxYZJpbJCiugZh5CTCdBfcRjVrvSHtj2xy1w2yB5TnUJU2h2dTdaYbKIBaUBN5Ehd1bRffGhu0mg223G9Xl64PHRtxvV5euDx0xjHKK7jHKKBbbbery9cHjo22/q8vXB46zuXtjQmyhFKIUZTZ5xLKSuic7W2uTeb9Gae64XDTzjfl//AEraTHZcVlJzUMEMqE2aQsYbLaonNzOAymWWIAk+jFoABoPpW3G9Xl64PHRtxvV5euDx1NEwwjgGgaL77vyvr3jHKKBbbjery9cHjo22/q8vXB46yez3Y5NaZFay6C9knsssiuEZL83PAwvIv32HBo9ExqqtOxm0GYytZsRlsV7qu12CWyV7TK6B2cFcBmj8pb8QQLwUH0Hbjery9cHjo243q8vXB46zmwTJMsAkzq5lGis6LAWVrpo4gs81ykhcTYRoOnNk+nTrMY5RQLbcb1eXrg8dG239Xl64PHXu1QJIhjkCurC5kPAw5DyivmE2wu07TjWODNynJ1viluaC9rRNm1gQnHdeVQjEOD0kUH0zbjery9cHjo243q8vXB46yWxzIU0dsxPFgRbRaZw+KMqUnWEIoAN+IYXBF1wwfmL9tjHKKBbbjery9cHjo22/q8vXB46YxjlFfPdkWxSeaXKEixK2cezmAERFnwizrI6uXGFQElBQ3Yr7+Sg3W3G9Xl64PHRtxvV5euDx1kth+RZ4bYzzxYFFmkhxhozGzm1TyjNqGJSMxyIVU+aLlvJWtrjHKKBfbjery9cHjo243q8vXB46ZxjlFZjZ3k2SeFBAhkdHMixnNtDI2BkzVoVmXyGDsMS6UNzeigvttt6vL1weOjbjery9cHjr59lLY5aZXtDtZseeezWlAXibMyJaFE0VzPdi2qkIJGgiMjhYg/RbNCkaLGgCqihFUcCqouAH+1AvZZS08l6Mm9x6GwG/TLzWNFSRH/qH6KP4paKCM2ZGtD40Rroo/OUNd5UvLU250Wpj7C/KvMf3h+ij+KWmqBfc6LUx9hflRudFqY+wvypiigrrZk+O+Peo+NH4F5G/KmdzotTH2F+Vebbwx9KPc1NUC+50Wpj7C/Kjc6LUx9hflTFFAq+TorjvMXBzF+VQ2DJ8eZj3qPi1/AvIPyp5+A+yocn8TH0a+4UBudFqY+wvyo3Oi1MfYX5UxRQL7nRamPsL8qVsmT48cu9R8aPwLq4vyqypSx+fN0o/xxUHvc6LUx9hflRudFqY+wvypiigX3Oi1MfYX5UtJk+PPoM1H5j/AIF5Y/yqxpWXj4/4P746D1udFqY+wvyo3Oi1MfYX5UxRQL7nRamPsL8qWyjk+MQvvUfBzF+VWNK5T4l/ZQLSmBbQlnMK45EaRd6GHCmENe911/lDRw03udFqY+wvypa15NdrXDOsiKsSupjKMzPnMN5DhgFuwj8J9NWNAvudFqY+wvyrm50Wpj7C/KmaKCpgssawu+11kIkluREjLNdI9yi+4dZAr3kzMzxCRYFXynQo6IGSSNmjdDdeLwysLwSDdoJFdzLvZpEhlEMjPKFlK5zAxkfysN4vu9tS5GsBhgWIlDhvF8augN5JvON3JY33lixJJJ9NBLudFqY+wvyo3Oi1MfYX5UxRQJWaBVncIqrvUfmgLfpl5KK9x/eH6KP4paKAj+8P0UfxS01Ve9mDWhyS4uiTzXkT8UvoUi+oMmzQzhs29ovRgrJI1rhdSQGF6SEG4ggg3XUFvRSu5y86XvZ/FRucvOl72fxUBbeGPpR7mpqqy2ZPW+PypeNA42fkb9Vcvhz+1s7Jnc0Zs3nbReIwQuI+Vo0kDTw6eQ0FpRSu5y86XvZ/FRucvOl72fxUDD8B9lQ5P4mPo19wrw+TluPlS8Gtn8VVrSwwwQmRrR5YVFWM2yZmbAXICR4j5qseD0UF7RSi5PUi/FN/vLOP+MVd3OXnS97P4qBqlLH583Sj/HFXdzl50vez+KkM1HGJ5JJJFRJLyxln0DNxcjaT/wA0FzRSFmsySIHU2gAi8B3tUTf7o5BH+4qXc5edL3s/ioGqVl4+P+D++Ojc5edL3s/ipaTJ655Bil8x/wDVn5Y/1UFnRVPHaIWtG18VqElzMA+3UVlQqGZZGuVgC68BPnCntzl50vez+KgapXKfEv7KNzl50vez+Klso5PUQucUvBrZ/FQWdFU9qtMEcqxPLMHbDoD2pgucYpHjcG5MTgquIi8i4U9ucvOl72fxUDVcpbc5edL3s/io3OXnS97P4qAyd5h6WX/I9NVTJHFFA8skkqqskhLZ2c6BI40ANeSdAuGkk1PYFimjzkbzFbyumS0oyspKsrKzAqQQRcRQWVFK7nLzpe9n8VG5y86XvZ/FQEf3h+ij+KWio7LAFnkALHe4/OZ39MvOJurtB6Xj5LuHNJdfy3y0lkDJskbTySiNDNKJc1E7zKpwqrNnHVSSSOC64AC7009H94foo/ilpqgKKKKBW28MfSj3NVbZ9jWC37aWWQqyTY43IN8kpgII8m/CFhu0nRhQDQKsrbwx9KPc1NUBRRRQeX4D7KoMsZJe0WKJI0jZwgKSSSSwmBzGUEyNGpJYYjovF950ir9+A+yocn8TH0a+4UEsSkKATiIABY6MRHpr3RRQFUeVcmG0Q2iJSt+fjkAYsqsYhZ5QjFdIDYMJI0gG/TV5Slj8+bpR/jioIcgWB4bOI5CCcbsFVmdY0d2dIVZgCyopCgkDzeADQLGiigKVl4+P+D++OmqVl4+P+D++OghsuTmFpltEhUllWKIC/e4VGI33/iaRmJu9Cx8lWFFFAUrlPiX9lNUrlPiX9lBTZY2OSS22O0KUAXM3MWdWjzUrSSDNgXTB1KqMZGAriGmtHRRQFFFFBVS2ITWWWIqHxPLcpZovLEjlTnFBKEMAcQBIuvr1seyU0EJV2xO8rzOcTP5TknDiYAtcMIvuF919w4Azk7zD0sv+R6aoCiiigVj+8P0UfxS0UR/eH6KP4paKCJoS1oe6R03qPQojN/lS85TUu1G18vVD4KE49+ij+KWsFbYGay3CK1OBugIQ8dqZ1tkkoexS+WMQOAvhkOhb+EGg3u1G18vVD4KNqNr5eqHwUyvBprtBWWyytfHv8vGj0Q8jfopnaja+Xqh8FFt4Y+lHuaqdyBb7ViFpwtYogWUWrDiUzYhEyi4NhePRGcRJ5RQXG1G18vVD4KNqNr5eqHwUpsVJ3PswYOrCzRqyyK6OHVQrBlYAg3g8NWtAo9ka47/LwckPgqGwWVszHv8ALxa+iHkH6KffgPsrPZe+4QECYkTWV7oRM5uWSJnLLECSuAOSCLtHsoLnaja+Xqh8FG1G18vVD4KpMlopynM6QyQ4Y2jYmKZBanLIzTNIVwsFuCppJ8qT8N1+loFdqNr5eqHwUrZLK2Obf5eNHoh1cX6KtKrZLsFpxY7sRvzecx3ZqPzc35V/8dNAxtRtfL1Q+Cjaja+Xqh8FZGzw4hkwiGXPpHCJC0FoSQRqjKwM7ACNVbGWQ6X8kaL1v3FArtRtfL1Q+ClpLK2fTf5fMf0Q8sf6Ks6Vl4+P+D++OgNqNr5eqHwUbUbXy9UPgrP2mKZrZa0s+cUvHZ/LlNpjjuUy55YZSrBWwsnmaAWvuvvqz2IxOuTrMsqlHWzorIS5KkKBccQBvuuvvHDfw8NA7tRtfL1Q+Clso2Vsy+/y8HJD4Ks6VynxL+ygNqNr5eqHwUbUbXy9UPgqpyyP+vg4+42edGZFndFxBMN4UFQ2hrr9Po9NR7BYM3Z3jCAIkgRJhDJZWtCiOO+V45NOLFiUn04KC62o2vl6ofBRtRtfL1Q+CmqKCssFlbAd/l42T0Q6x/0UztRtfL1Q+CoobsxJixXY5r8GPFdjkvw4PKvu4MOnk01jbAJg1gYxO+CyWSNY54J2Ky42jtjlzdmZEQI2JxewW4X3m8NvtRtfL1Q+Cjaja+Xqh8FNUUCNliKzyXuz73HpbALtMvNArte4/vD9FH8UtFAR/eH6KP4paapBse2HwYOKjvxYudLyVLv37X96Bqild+/a/vRv37X96AtvDH0o9zU1VbbM7fHxXGjn8jUxv37X96Bqild+/a/vRv37X96Bh+A+yocn8TH0a+4V4fO3HiuD9dQ2DO5mPiuLXn8goLGild+/a/vRv37X96BqlLH583Sj/HFXd+/a/vS1kzuObiuNHP1cVBZ0Urvv7X96N+/a/vQNUrLx8f8AB/fHRv37X96XlzufTivMfn8sdBZUUrv37X96N+/a/vQNUrlPiX9lG/ftf3pfKOdzL8VwfroLKild+/a/vRv37X96Bqild+/a/vRv37X96Ayf5h6WX/I9NVWZPzuA8VxsnP1j0zvv7X96Bqild+/a/vRv37X96Aj+8P0UfxS0VHZcWfkx4eKjuw38svLXaD2nHv0UfxS1lpbbJJY2C2yQzm3TWWF4jEuJzI6pjUKb1jjUuRw4YzWpj+8P0UfxS1LFZEXzY0XTi8lVGm66/R6btFB7QXAC8m4XXm68/mbq9UUUCtt4Y+lHuas3l/K8iS2tEtAF0FkMaEoubaaaSJ/KuJQMAgLkHBeGuN1x0lt4Y+lHuapGsaEsTGhLLhYlVJZToKk+kXAaPyoK3Ypa2ksitIzMwkljJYqxGblkQJjGh8IULi/Fhv8ATVxXmOMKoVQFAFwVQAABwAAcAr1QeX4D7KosrWxorHZ3WbNb/ZUYnB5cbyRI8flcF6s3Bp0VevwH2UrZbOrwRh0Vxm1NzAML8N19x9poKLI1un3RkhlZ2GCaRhigeNFEqLZcAQ4o74i4IcC9ozdfcTWpqOOBVLFVVSxxMVABZuC83cJqSgKqLbaESK0vLM0CBwWlQgMowQ6F0HSeAAC8k6NN1W9JWeIM0ysoYGUXqwBB3uLhBoMfZMrziWIPaWLA2YLBihfOx2iedJBIUG+OkKLeVNwaFjwE372oEsUYKlY4wUvCkKowBvOC6NF/puqegKVl4+P+D++OmqVl4+P+D++OgzNuykwktpgtrYYrNIWLtC4jtS3FViUjQEW9WvvF7qNLK12oyfNjhje8NijVsQuN5IGnRQbBHexzUd7C5jhW9hw3E3adIHVU0cYUBVAUDQFAAAHIAKD1SuU+Jf2U1SuU+Jf2UFRlu2XW2COO0sj3h5IS0YjFm8oM7qwvLMblW433reNCvXvYjazJHK4naeIzbw8jI7mLAl7EqB5LOJGW/ThYcAIAuJLIjMGaNGYcDMqkj06CeCuwWVEvCIiXm8hFC3nlN1BLRRRQVjzKllleSUwopmLTAgGNQ8l7gkG672Vm0yhIIrLIbW+I2tUzbSQs+1pZykayRBd8coVQ6QU0t5RU4tZYkBjYMAQZZQQdIIzj6CK9pk+JSpWKMFb8JCqCuLhwm7Rf+VAxRRRQKx/eH6KP4paKI/vD9FH8UtFBE0rC0PhjL71HpvUXeVLy1Ltl9Se0leWYCWQsbgIUJOkXC+a81hJbfM1ikksUkkkJnzoAtDPPCiiERxMzksodhJIy33gMF0XtcG92xJqD2ko2xJqD2kpkV2grbZaHvj3k8aPxJyNTG2X1J7SUW3hj6Ue5qymW7Sj2u0Rx202ZkszJK0k8qrnHERQpFjGBUQEl0w8Zwk47g1e2H1J7SUbYk1B7SUnsVtOOyI1x8+RQxklnEgV3USrJISzIwAYXngYXXi41bUCj2h7jvJ4OclQ2C0PmY95PFr+JOQU+/AfZWW2U2pFsESGVoZJFCQyiWSzrHKU46RlIBVBe2Fr7yAACSKDQ7Yk1J7SUbYk1B7SVnNjmUXa3zLI2cLGYkB5f+njilVYFaInCokiZXVgAThY+VebtbQK7Yk1B7SUtZLQ+ObeTxo/Emriqzqkynao44LU85cRhxizbPG58iEBVZSCCSQOEDTpIF9BY7ZfUntJRtiTUHtJWXyVAZGsaraJZGVTPLLFaJ5IhCjMI7OSGwynGwTEwJZYHv03VsqBXbEmoPaSl5LQ+fTeT5j/iTljqypWXj4/4P746A2y+pPaSjbEmpPaSsTlnKKma0Zi0sgWSOKVJJ5rjJn487IVxXwQKt8ZZbgc4dFygnVbFJmawws5ctg0s5LFriQGDHS6kAFWOkrcTpJoHNsSag9pKXyjaHzL7yeDnJVlSuU+Jf2UBth9Se0lG2H1J7SVQ7IrSu3YIY7QYJyMeJpXWPNnGqpmS2GV3fRdcSApN4IW/mwSWRklxPnIwyKkmee1q8gRc80czgYlLXcGgHFwG8AL/AGxJqD2ko2xJqD2kpqigrMn2h8B3k8bJ+JNY9M7ZfUntJS+NBZpDK5RMcuNwzR4Vzj3tjUgr7QRdWIsVukvjBnlJEsYsuGWZ0nvtjraMBJ3+MQZsXvfcl5Fw00G/2xJqD2ko2xJqD2kpqigRssjGeTEmDeo9F4N+mXkrte4/vD9FH8UtFAR/eH6KP4paapB7SFtD3hzfFH5qSP8Ail9Kg1LuivNl7qfw0DVFK7orzZe6n8NG6K82Xup/DQFt4Y+lHuamqrLZlBb4/Jl40Hip+Rv00zuivNl7qfw0DVFK7orzZe6n8NG6K82Xup/DQMPwH2VDk/iY+jX3CvD5RW4+TLwaqfw1DYMoLmY/Jl4tf9KfkH6aCxopXdFebL3U/ho3RXmy91P4aBqlLH583Sj/ABxV3dFebL3U/hpWyZQXHL5MvGj/AEp9XF+mgtKKV3RXmy91P4aN0V5svdT+GgapWXj4/wCD++OjdFebL3U/hpaTKC59Dhl8x/8ASn5Y/wBNBZ0UruivNl7qfw0borzZe6n8NA1SuU+Jf2UborzZe6n8NLZRygphcYZeDVT+Ggs6KV3RXmy91P4aN0V5svdT+GgaopXdFebL3U/ho3RXmy91P4aAyf5h6WX/ACPTVVtitoVSCso3yQ8VNwM7EHzeQimN0V5svdT+GgaopXdFebL3U/ho3RXmy91P4aAj+8P0UfxS0VHZZw08hAYb3H5yunpl5wF9doPace/RR++Ws2mVLQglRpsTRZQs0V80ceNrPO8KMRmiFAYu5U3EgC4i/SNIovncHSM0guPp0y0uuxuyiPNCyWfN487m82mHOAXB7rvOAAAPoAHJQWIrtFFArbeGPpR7mpqlbbwx9KPc1NUBRRRQeX4D7KhyfxMfRr7hUz8B9lQ5P4mPo19woGKKKKApSx+fN0o/xxU3Slj8+bpR/jioG6KKKApWXj4/4P746apWXj4/4P746BqiiigKVynxL+ymqVynxL+ygaoqqyjbLQryCOHEqwl0IXEWkANy3Y1v03DDovvvxClLLb7aSMdniUZ3Cbr783jhGIeVzHmOnV8A4CGgorPPly2AkDJZIBcBs/HpCC8NddwPwL+fDcNNRTZatocFbBemZDmMkFhKTpjx4gDcLuBeXhoNNRWbbLNtJI2jm1uUh8SzkG/SMAZMRuI9IAuJvPBXVy5bMRG5puvOEmVV0KwAv0HhGn/jTw0GjorO2fLdsJIbJ5QXMQ2NTdcGwrd+I4govvA0k8FxMliyra2mVZLEEjbCMQkDFD5RZjo0i7ALtGkNpN4oLSP7w/RR/FLRRH94foo/ilooIzaUW0PjdVvijuxELf5UvLU26MWuj7a/OpytcwDkFBDujFro+2vzo3Ri10fbX51NgHIKMA5BQIWy3x3x77HxoPnryN+dM7oxa6Ptr86nwDkFcwDkFBDujFro+2vzo3Ri10fbX51NgHIKMA5BQLvlCK477Hwc9fnUNgyhHmY99j4tfxLyD86ewDkFGAcgoId0YtdH21+dG6MWuj7a/OpsA5BRgHIKCHdGLXR9tfnStkt8eOXfY+NH4l1cX51YYByCu4ByCgg3Ri10fbX50boxa6Ptr86mwDkFGAcgoId0YtdH21+dLSW+PPoc7H5j/jXlT86fwDkFdwDkFBBujFro+2vzo3Ri10fbX51NgHIKMA5BQQ7oxa6Ptr86Wyjb4zC4EsfBz1+dP4ByCu4ByCgg3Ri1sfbX50boxa6Ptr86mwDkFGAcgoId0YtdH21+dG6MWtj7a/OpsA5BRgHIKCHdGLXR9tfnRujFrY+2vzqbAOQUYByCgh3Ri1sfbX50boxa6Ptr86mwDkFGAcgoFLNOrTuVZW3uPzSGu0y8lFOAUUH/2Q=="/>
          <p:cNvSpPr>
            <a:spLocks noChangeAspect="1" noChangeArrowheads="1"/>
          </p:cNvSpPr>
          <p:nvPr/>
        </p:nvSpPr>
        <p:spPr bwMode="auto">
          <a:xfrm>
            <a:off x="79375" y="-727075"/>
            <a:ext cx="1828800" cy="1504950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11" name="Group 10"/>
          <p:cNvGrpSpPr/>
          <p:nvPr/>
        </p:nvGrpSpPr>
        <p:grpSpPr>
          <a:xfrm>
            <a:off x="1752600" y="1295400"/>
            <a:ext cx="6705600" cy="5105400"/>
            <a:chOff x="1752600" y="1600200"/>
            <a:chExt cx="6705600" cy="5105400"/>
          </a:xfrm>
        </p:grpSpPr>
        <p:pic>
          <p:nvPicPr>
            <p:cNvPr id="93192" name="Picture 8" descr="http://www.justcalendar.org/calendar/July-2011-Calendar-4.jpg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1752600" y="1600200"/>
              <a:ext cx="6705600" cy="5029200"/>
            </a:xfrm>
            <a:prstGeom prst="rect">
              <a:avLst/>
            </a:prstGeom>
            <a:noFill/>
          </p:spPr>
        </p:pic>
        <p:sp>
          <p:nvSpPr>
            <p:cNvPr id="10" name="Oval 9"/>
            <p:cNvSpPr/>
            <p:nvPr/>
          </p:nvSpPr>
          <p:spPr bwMode="auto">
            <a:xfrm>
              <a:off x="5562600" y="5715000"/>
              <a:ext cx="990600" cy="990600"/>
            </a:xfrm>
            <a:prstGeom prst="ellipse">
              <a:avLst/>
            </a:prstGeom>
            <a:noFill/>
            <a:ln w="6350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endParaRPr>
            </a:p>
          </p:txBody>
        </p:sp>
      </p:grpSp>
      <p:sp>
        <p:nvSpPr>
          <p:cNvPr id="12" name="Rectangle 2"/>
          <p:cNvSpPr txBox="1">
            <a:spLocks noChangeArrowheads="1"/>
          </p:cNvSpPr>
          <p:nvPr/>
        </p:nvSpPr>
        <p:spPr bwMode="auto">
          <a:xfrm>
            <a:off x="3276600" y="6645275"/>
            <a:ext cx="6248400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marL="0" marR="0" lvl="1" indent="0" algn="l" defTabSz="1019175" rtl="0" eaLnBrk="0" fontAlgn="base" latinLnBrk="0" hangingPunct="0">
              <a:lnSpc>
                <a:spcPts val="2788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rebuchet MS" pitchFamily="34" charset="0"/>
                <a:ea typeface="LF_Kai" pitchFamily="2" charset="-122"/>
                <a:cs typeface="LF_Kai"/>
              </a:rPr>
              <a:t>What’s the question</a:t>
            </a:r>
            <a:r>
              <a:rPr kumimoji="0" lang="en-US" sz="2300" b="1" i="0" u="none" strike="noStrike" kern="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rebuchet MS" pitchFamily="34" charset="0"/>
                <a:ea typeface="LF_Kai" pitchFamily="2" charset="-122"/>
                <a:cs typeface="LF_Kai"/>
              </a:rPr>
              <a:t> we’re trying to answer?</a:t>
            </a:r>
            <a:endParaRPr kumimoji="0" lang="en-US" sz="2300" b="1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rebuchet MS" pitchFamily="34" charset="0"/>
              <a:ea typeface="LF_Kai" pitchFamily="2" charset="-122"/>
              <a:cs typeface="LF_Kai"/>
            </a:endParaRPr>
          </a:p>
        </p:txBody>
      </p:sp>
    </p:spTree>
    <p:custDataLst>
      <p:tags r:id="rId1"/>
    </p:custDataLst>
  </p:cSld>
  <p:clrMapOvr>
    <a:masterClrMapping/>
  </p:clrMapOvr>
  <p:transition xmlns:p14="http://schemas.microsoft.com/office/powerpoint/2010/main">
    <p:cut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Rectangle 2"/>
          <p:cNvSpPr>
            <a:spLocks noGrp="1" noChangeArrowheads="1"/>
          </p:cNvSpPr>
          <p:nvPr>
            <p:ph type="title"/>
          </p:nvPr>
        </p:nvSpPr>
        <p:spPr>
          <a:xfrm>
            <a:off x="762000" y="838200"/>
            <a:ext cx="7696200" cy="288925"/>
          </a:xfrm>
        </p:spPr>
        <p:txBody>
          <a:bodyPr/>
          <a:lstStyle/>
          <a:p>
            <a:pPr lvl="1"/>
            <a:r>
              <a:rPr lang="en-US" sz="2300" dirty="0" smtClean="0"/>
              <a:t>Do you ever feel like you are… </a:t>
            </a:r>
          </a:p>
        </p:txBody>
      </p:sp>
      <p:sp>
        <p:nvSpPr>
          <p:cNvPr id="56" name="TextBox 55"/>
          <p:cNvSpPr txBox="1"/>
          <p:nvPr/>
        </p:nvSpPr>
        <p:spPr>
          <a:xfrm rot="233865">
            <a:off x="5286126" y="655755"/>
            <a:ext cx="808076" cy="307777"/>
          </a:xfrm>
          <a:prstGeom prst="rect">
            <a:avLst/>
          </a:prstGeom>
          <a:noFill/>
          <a:ln w="5080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Values</a:t>
            </a:r>
          </a:p>
        </p:txBody>
      </p:sp>
      <p:sp>
        <p:nvSpPr>
          <p:cNvPr id="93186" name="AutoShape 2" descr="data:image/jpg;base64,/9j/4AAQSkZJRgABAQAAAQABAAD/2wCEAAkGBhQSDhQQEA8QEBQUEBkQFA4QFhEQFBAQFBwWFRUQFRQYHycqFxkjGRUTHy8iIycsLCwsFR4xQTIqNSYrLSkBCQoKBQUFDQUFDSkYEhgpKSkpKSkpKSkpKSkpKSkpKSkpKSkpKSkpKSkpKSkpKSkpKSkpKSkpKSkpKSkpKSkpKf/AABEIAMwA9wMBIgACEQEDEQH/xAAbAAACAwEBAQAAAAAAAAAAAAAABAMFBgECB//EAEkQAAIBAQMEDQkIAQMDBQEAAAECAwAEERIFEyFTBhQVIzEzUVJzkZKT0iIyQVRxsbLR0wc0QmFiY3Kis0OBoSR0dRY1NsHCCP/EABQBAQAAAAAAAAAAAAAAAAAAAAD/xAAUEQEAAAAAAAAAAAAAAAAAAAAA/9oADAMBAAIRAxEAPwD7PLaXzhRERrkViWcp5xYXABTzf+a5nJtXF3j/AE67H94foo/ilpqgUzk2ri7x/p0ZybVxd4/06booFM5Nq4u8f6dGcm1cXeP9Om6KBTOTauLvH+nRnJtXF3j/AE6booFM5Nq4u8f6dGcm1cXeP9Om6KBTOTauLvH+nRnJtXF3j/TrL5O+0FpctS5KNjwtCpkefPBlzVyFXC4LyTnI9HovOnRV3YNl1kmWV4bVFKsK4pShLZpdOluTzT1Ggdzk2ri7x/p0ZybVxd4/06rZNnNhWBLQ1tgELsUSYtcjuvnKG4CR/wDR5KnynssslnEZtFqihEq4o84cOcGjzb+HhGj86BvOTauLvH+nRnJtXF3j/TqOfL0CWiOzPMizSrijhN+J106VHpHknqqHZRsijsNjltc2IpGAcK6WdmIVUH5liBQNZybVxd4/06M5Nq4u8f6dYXYr9sAtNshslpsEtia0xCazu7iRZkYMVbzVuDBWuOm8i6qu1f8A9ARLLI0eT55bLHMIXtiuo8psWErGRpvCORew0D0UH07OTauLvH+nRnJtXF3j/TrH7LPtjsNiiVlfbUsiJIlniNzZuRQ6u7Eb2CjAgHSbxo9Ij2WfbNZLEqLcbROwUtZYmF8IYBt8e64EXjRw/kKDaZybVxd4/wBOjOTauLvH+nTQNdoFM5Nq4u8f6dGcm1cXeP8ATpuigUzk2ri7x/p0ZybVxd4/06booFM5Nq4u8f6dGcm1cXeP9Om6KBTOTauLvH+nRnJtXF3j/TpuigWs1oYuyOiqQqterFwQxYelRd5v/NFcj+8P0UfxS0UBH94foo/ilpqlY/vD9FH8UtNUBRRRQFFFFAUUUUBRRRQfJtjv/wA5yh/2Q+Gx1P8AZMdGWf8AyU3/AOqNhViefZPlDKcattUxbWSZlZBLKogVgmIDEAYXvI/Llq+H2evFPa3sVuazJbWMk0LRJNhka/FJC5YYCcR4Qw6hQfNNkf8A8Lyb/wB2nvtNfTPtY2ObcyTMqm6WAbbhN9xDxXkge1cS+0jkrxsk+zGO05Ns+TYp2s8NnZXBwCV3KBlUkkgaS7k6NJPopj/0VO00882UM7JLYmsKnMIiQxu2JmCB/KY/meTkuoEfs0tj5QUZXnW5mgWxwryLHcbTLcDozk4YfxiWtXsgyLBarM0FrQPCbnZWZox5BxAllIIAIv4fRSOwfYtudYlsYmz6ozFHKCMgOS5U3E3+UW06OGvOz/ItoteTZrLZJEiklATHIWVc2SM4pKgnSt44PTQfKNg9lGU9kBtkCFLFk6IQ2cHEd7jVo7OgLabz5chvvI4Dw18/yd/7Ba//ACFl+C019m+znYRlbJ7xwSTZP2mHd5o4gxlkLKbjiMYvN+AcPAt1Ze0fYdlBBNYoJrIbJLaUnz0hkEqiISKgKheG6Q3gX3kDSNNAl9p2S4l2O5JtCwxrK8MKvMqqHdRZxcGYC9rsK3X8F1TfbrkyJLPk2ZIY0kkRs5KiqrS3JBdjYDyrrzw8tbn7QvsymteS7HYbJJENq4VxTlkxIkebB8lW0nQaj+077NrTlGz2KKzvZ1azKwcys6gkrGow4UN+lDw3eig+lrwV2uCu0BRRRQFFFFAUUUUBRRRQKx/eH6KP4paKI/vD9FH8UtFBE8xW0PdG771HpUxi7ypecwqXbjery9cHjoRv+ofoo/ilpLZRY89Y5IlMt7YQDCY8YuZTiukIV1F17KfOUMum+6gd22/q8vXB46NuN6vL1weOvncOxm1XPnLLGpkzUxWJohEjR2aeJogpbyTnGW4C8DH51wJGm2FZJls2ejm0qrJFBKSpaSzIt8eO4+egbNknhzd/poL7bjery9cHjo243q8vXB46ZxjlFUmzHJW2rC9mUm+Ro1xIQGjGcQmUEkaVALcuigstuN6vL1weOjbjery9cHjr53FsZtmcd7TDtgSSvJLEjxYZJpbJCiugZh5CTCdBfcRjVrvSHtj2xy1w2yB5TnUJU2h2dTdaYbKIBaUBN5Ehd1bRffGhu0mg223G9Xl64PHRtxvV5euDx0xjHKK7jHKKBbbbery9cHjo22/q8vXB46zuXtjQmyhFKIUZTZ5xLKSuic7W2uTeb9Gae64XDTzjfl//AEraTHZcVlJzUMEMqE2aQsYbLaonNzOAymWWIAk+jFoABoPpW3G9Xl64PHRtxvV5euDx1NEwwjgGgaL77vyvr3jHKKBbbjery9cHjo22/q8vXB46yez3Y5NaZFay6C9knsssiuEZL83PAwvIv32HBo9ExqqtOxm0GYytZsRlsV7qu12CWyV7TK6B2cFcBmj8pb8QQLwUH0Hbjery9cHjo243q8vXB46zmwTJMsAkzq5lGis6LAWVrpo4gs81ykhcTYRoOnNk+nTrMY5RQLbcb1eXrg8dG239Xl64PHXu1QJIhjkCurC5kPAw5DyivmE2wu07TjWODNynJ1viluaC9rRNm1gQnHdeVQjEOD0kUH0zbjery9cHjo243q8vXB46yWxzIU0dsxPFgRbRaZw+KMqUnWEIoAN+IYXBF1wwfmL9tjHKKBbbjery9cHjo22/q8vXB46YxjlFfPdkWxSeaXKEixK2cezmAERFnwizrI6uXGFQElBQ3Yr7+Sg3W3G9Xl64PHRtxvV5euDx1kth+RZ4bYzzxYFFmkhxhozGzm1TyjNqGJSMxyIVU+aLlvJWtrjHKKBfbjery9cHjo243q8vXB46ZxjlFZjZ3k2SeFBAhkdHMixnNtDI2BkzVoVmXyGDsMS6UNzeigvttt6vL1weOjbjery9cHjr59lLY5aZXtDtZseeezWlAXibMyJaFE0VzPdi2qkIJGgiMjhYg/RbNCkaLGgCqihFUcCqouAH+1AvZZS08l6Mm9x6GwG/TLzWNFSRH/qH6KP4paKCM2ZGtD40Rroo/OUNd5UvLU250Wpj7C/KvMf3h+ij+KWmqBfc6LUx9hflRudFqY+wvypiigrrZk+O+Peo+NH4F5G/KmdzotTH2F+Vebbwx9KPc1NUC+50Wpj7C/Kjc6LUx9hflTFFAq+TorjvMXBzF+VQ2DJ8eZj3qPi1/AvIPyp5+A+yocn8TH0a+4UBudFqY+wvyo3Oi1MfYX5UxRQL7nRamPsL8qVsmT48cu9R8aPwLq4vyqypSx+fN0o/xxUHvc6LUx9hflRudFqY+wvypiigX3Oi1MfYX5UtJk+PPoM1H5j/AIF5Y/yqxpWXj4/4P746D1udFqY+wvyo3Oi1MfYX5UxRQL7nRamPsL8qWyjk+MQvvUfBzF+VWNK5T4l/ZQLSmBbQlnMK45EaRd6GHCmENe911/lDRw03udFqY+wvypa15NdrXDOsiKsSupjKMzPnMN5DhgFuwj8J9NWNAvudFqY+wvyrm50Wpj7C/KmaKCpgssawu+11kIkluREjLNdI9yi+4dZAr3kzMzxCRYFXynQo6IGSSNmjdDdeLwysLwSDdoJFdzLvZpEhlEMjPKFlK5zAxkfysN4vu9tS5GsBhgWIlDhvF8augN5JvON3JY33lixJJJ9NBLudFqY+wvyo3Oi1MfYX5UxRQJWaBVncIqrvUfmgLfpl5KK9x/eH6KP4paKAj+8P0UfxS01Ve9mDWhyS4uiTzXkT8UvoUi+oMmzQzhs29ovRgrJI1rhdSQGF6SEG4ggg3XUFvRSu5y86XvZ/FRucvOl72fxUBbeGPpR7mpqqy2ZPW+PypeNA42fkb9Vcvhz+1s7Jnc0Zs3nbReIwQuI+Vo0kDTw6eQ0FpRSu5y86XvZ/FRucvOl72fxUDD8B9lQ5P4mPo19wrw+TluPlS8Gtn8VVrSwwwQmRrR5YVFWM2yZmbAXICR4j5qseD0UF7RSi5PUi/FN/vLOP+MVd3OXnS97P4qBqlLH583Sj/HFXdzl50vez+KkM1HGJ5JJJFRJLyxln0DNxcjaT/wA0FzRSFmsySIHU2gAi8B3tUTf7o5BH+4qXc5edL3s/ioGqVl4+P+D++Ojc5edL3s/ipaTJ655Bil8x/wDVn5Y/1UFnRVPHaIWtG18VqElzMA+3UVlQqGZZGuVgC68BPnCntzl50vez+KgapXKfEv7KNzl50vez+Klso5PUQucUvBrZ/FQWdFU9qtMEcqxPLMHbDoD2pgucYpHjcG5MTgquIi8i4U9ucvOl72fxUDVcpbc5edL3s/io3OXnS97P4qAyd5h6WX/I9NVTJHFFA8skkqqskhLZ2c6BI40ANeSdAuGkk1PYFimjzkbzFbyumS0oyspKsrKzAqQQRcRQWVFK7nLzpe9n8VG5y86XvZ/FQEf3h+ij+KWio7LAFnkALHe4/OZ39MvOJurtB6Xj5LuHNJdfy3y0lkDJskbTySiNDNKJc1E7zKpwqrNnHVSSSOC64AC7009H94foo/ilpqgKKKKBW28MfSj3NVbZ9jWC37aWWQqyTY43IN8kpgII8m/CFhu0nRhQDQKsrbwx9KPc1NUBRRRQeX4D7KoMsZJe0WKJI0jZwgKSSSSwmBzGUEyNGpJYYjovF950ir9+A+yocn8TH0a+4UEsSkKATiIABY6MRHpr3RRQFUeVcmG0Q2iJSt+fjkAYsqsYhZ5QjFdIDYMJI0gG/TV5Slj8+bpR/jioIcgWB4bOI5CCcbsFVmdY0d2dIVZgCyopCgkDzeADQLGiigKVl4+P+D++OmqVl4+P+D++OghsuTmFpltEhUllWKIC/e4VGI33/iaRmJu9Cx8lWFFFAUrlPiX9lNUrlPiX9lBTZY2OSS22O0KUAXM3MWdWjzUrSSDNgXTB1KqMZGAriGmtHRRQFFFFBVS2ITWWWIqHxPLcpZovLEjlTnFBKEMAcQBIuvr1seyU0EJV2xO8rzOcTP5TknDiYAtcMIvuF919w4Azk7zD0sv+R6aoCiiigVj+8P0UfxS0UR/eH6KP4paKCJoS1oe6R03qPQojN/lS85TUu1G18vVD4KE49+ij+KWsFbYGay3CK1OBugIQ8dqZ1tkkoexS+WMQOAvhkOhb+EGg3u1G18vVD4KNqNr5eqHwUyvBprtBWWyytfHv8vGj0Q8jfopnaja+Xqh8FFt4Y+lHuaqdyBb7ViFpwtYogWUWrDiUzYhEyi4NhePRGcRJ5RQXG1G18vVD4KNqNr5eqHwUpsVJ3PswYOrCzRqyyK6OHVQrBlYAg3g8NWtAo9ka47/LwckPgqGwWVszHv8ALxa+iHkH6KffgPsrPZe+4QECYkTWV7oRM5uWSJnLLECSuAOSCLtHsoLnaja+Xqh8FG1G18vVD4KpMlopynM6QyQ4Y2jYmKZBanLIzTNIVwsFuCppJ8qT8N1+loFdqNr5eqHwUrZLK2Obf5eNHoh1cX6KtKrZLsFpxY7sRvzecx3ZqPzc35V/8dNAxtRtfL1Q+Cjaja+Xqh8FZGzw4hkwiGXPpHCJC0FoSQRqjKwM7ACNVbGWQ6X8kaL1v3FArtRtfL1Q+ClpLK2fTf5fMf0Q8sf6Ks6Vl4+P+D++OgNqNr5eqHwUbUbXy9UPgrP2mKZrZa0s+cUvHZ/LlNpjjuUy55YZSrBWwsnmaAWvuvvqz2IxOuTrMsqlHWzorIS5KkKBccQBvuuvvHDfw8NA7tRtfL1Q+Clso2Vsy+/y8HJD4Ks6VynxL+ygNqNr5eqHwUbUbXy9UPgqpyyP+vg4+42edGZFndFxBMN4UFQ2hrr9Po9NR7BYM3Z3jCAIkgRJhDJZWtCiOO+V45NOLFiUn04KC62o2vl6ofBRtRtfL1Q+CmqKCssFlbAd/l42T0Q6x/0UztRtfL1Q+CoobsxJixXY5r8GPFdjkvw4PKvu4MOnk01jbAJg1gYxO+CyWSNY54J2Ky42jtjlzdmZEQI2JxewW4X3m8NvtRtfL1Q+Cjaja+Xqh8FNUUCNliKzyXuz73HpbALtMvNArte4/vD9FH8UtFAR/eH6KP4paapBse2HwYOKjvxYudLyVLv37X96Bqild+/a/vRv37X96AtvDH0o9zU1VbbM7fHxXGjn8jUxv37X96Bqild+/a/vRv37X96Bh+A+yocn8TH0a+4V4fO3HiuD9dQ2DO5mPiuLXn8goLGild+/a/vRv37X96BqlLH583Sj/HFXd+/a/vS1kzuObiuNHP1cVBZ0Urvv7X96N+/a/vQNUrLx8f8AB/fHRv37X96XlzufTivMfn8sdBZUUrv37X96N+/a/vQNUrlPiX9lG/ftf3pfKOdzL8VwfroLKild+/a/vRv37X96Bqild+/a/vRv37X96Ayf5h6WX/I9NVWZPzuA8VxsnP1j0zvv7X96Bqild+/a/vRv37X96Aj+8P0UfxS0VHZcWfkx4eKjuw38svLXaD2nHv0UfxS1lpbbJJY2C2yQzm3TWWF4jEuJzI6pjUKb1jjUuRw4YzWpj+8P0UfxS1LFZEXzY0XTi8lVGm66/R6btFB7QXAC8m4XXm68/mbq9UUUCtt4Y+lHuas3l/K8iS2tEtAF0FkMaEoubaaaSJ/KuJQMAgLkHBeGuN1x0lt4Y+lHuapGsaEsTGhLLhYlVJZToKk+kXAaPyoK3Ypa2ksitIzMwkljJYqxGblkQJjGh8IULi/Fhv8ATVxXmOMKoVQFAFwVQAABwAAcAr1QeX4D7KosrWxorHZ3WbNb/ZUYnB5cbyRI8flcF6s3Bp0VevwH2UrZbOrwRh0Vxm1NzAML8N19x9poKLI1un3RkhlZ2GCaRhigeNFEqLZcAQ4o74i4IcC9ozdfcTWpqOOBVLFVVSxxMVABZuC83cJqSgKqLbaESK0vLM0CBwWlQgMowQ6F0HSeAAC8k6NN1W9JWeIM0ysoYGUXqwBB3uLhBoMfZMrziWIPaWLA2YLBihfOx2iedJBIUG+OkKLeVNwaFjwE372oEsUYKlY4wUvCkKowBvOC6NF/puqegKVl4+P+D++OmqVl4+P+D++OgzNuykwktpgtrYYrNIWLtC4jtS3FViUjQEW9WvvF7qNLK12oyfNjhje8NijVsQuN5IGnRQbBHexzUd7C5jhW9hw3E3adIHVU0cYUBVAUDQFAAAHIAKD1SuU+Jf2U1SuU+Jf2UFRlu2XW2COO0sj3h5IS0YjFm8oM7qwvLMblW433reNCvXvYjazJHK4naeIzbw8jI7mLAl7EqB5LOJGW/ThYcAIAuJLIjMGaNGYcDMqkj06CeCuwWVEvCIiXm8hFC3nlN1BLRRRQVjzKllleSUwopmLTAgGNQ8l7gkG672Vm0yhIIrLIbW+I2tUzbSQs+1pZykayRBd8coVQ6QU0t5RU4tZYkBjYMAQZZQQdIIzj6CK9pk+JSpWKMFb8JCqCuLhwm7Rf+VAxRRRQKx/eH6KP4paKI/vD9FH8UtFBE0rC0PhjL71HpvUXeVLy1Ltl9Se0leWYCWQsbgIUJOkXC+a81hJbfM1ikksUkkkJnzoAtDPPCiiERxMzksodhJIy33gMF0XtcG92xJqD2ko2xJqD2kpkV2grbZaHvj3k8aPxJyNTG2X1J7SUW3hj6Ue5qymW7Sj2u0Rx202ZkszJK0k8qrnHERQpFjGBUQEl0w8Zwk47g1e2H1J7SUbYk1B7SUnsVtOOyI1x8+RQxklnEgV3USrJISzIwAYXngYXXi41bUCj2h7jvJ4OclQ2C0PmY95PFr+JOQU+/AfZWW2U2pFsESGVoZJFCQyiWSzrHKU46RlIBVBe2Fr7yAACSKDQ7Yk1J7SUbYk1B7SVnNjmUXa3zLI2cLGYkB5f+njilVYFaInCokiZXVgAThY+VebtbQK7Yk1B7SUtZLQ+ObeTxo/Emriqzqkynao44LU85cRhxizbPG58iEBVZSCCSQOEDTpIF9BY7ZfUntJRtiTUHtJWXyVAZGsaraJZGVTPLLFaJ5IhCjMI7OSGwynGwTEwJZYHv03VsqBXbEmoPaSl5LQ+fTeT5j/iTljqypWXj4/4P746A2y+pPaSjbEmpPaSsTlnKKma0Zi0sgWSOKVJJ5rjJn487IVxXwQKt8ZZbgc4dFygnVbFJmawws5ctg0s5LFriQGDHS6kAFWOkrcTpJoHNsSag9pKXyjaHzL7yeDnJVlSuU+Jf2UBth9Se0lG2H1J7SVQ7IrSu3YIY7QYJyMeJpXWPNnGqpmS2GV3fRdcSApN4IW/mwSWRklxPnIwyKkmee1q8gRc80czgYlLXcGgHFwG8AL/AGxJqD2ko2xJqD2kpqigrMn2h8B3k8bJ+JNY9M7ZfUntJS+NBZpDK5RMcuNwzR4Vzj3tjUgr7QRdWIsVukvjBnlJEsYsuGWZ0nvtjraMBJ3+MQZsXvfcl5Fw00G/2xJqD2ko2xJqD2kpqigRssjGeTEmDeo9F4N+mXkrte4/vD9FH8UtFAR/eH6KP4paapB7SFtD3hzfFH5qSP8Ail9Kg1LuivNl7qfw0DVFK7orzZe6n8NG6K82Xup/DQFt4Y+lHuamqrLZlBb4/Jl40Hip+Rv00zuivNl7qfw0DVFK7orzZe6n8NG6K82Xup/DQMPwH2VDk/iY+jX3CvD5RW4+TLwaqfw1DYMoLmY/Jl4tf9KfkH6aCxopXdFebL3U/ho3RXmy91P4aBqlLH583Sj/ABxV3dFebL3U/hpWyZQXHL5MvGj/AEp9XF+mgtKKV3RXmy91P4aN0V5svdT+GgapWXj4/wCD++OjdFebL3U/hpaTKC59Dhl8x/8ASn5Y/wBNBZ0UruivNl7qfw0borzZe6n8NA1SuU+Jf2UborzZe6n8NLZRygphcYZeDVT+Ggs6KV3RXmy91P4aN0V5svdT+GgaopXdFebL3U/ho3RXmy91P4aAyf5h6WX/ACPTVVtitoVSCso3yQ8VNwM7EHzeQimN0V5svdT+GgaopXdFebL3U/ho3RXmy91P4aAj+8P0UfxS0VHZZw08hAYb3H5yunpl5wF9doPace/RR++Ws2mVLQglRpsTRZQs0V80ceNrPO8KMRmiFAYu5U3EgC4i/SNIovncHSM0guPp0y0uuxuyiPNCyWfN487m82mHOAXB7rvOAAAPoAHJQWIrtFFArbeGPpR7mpqlbbwx9KPc1NUBRRRQeX4D7KhyfxMfRr7hUz8B9lQ5P4mPo19woGKKKKApSx+fN0o/xxU3Slj8+bpR/jioG6KKKApWXj4/4P746apWXj4/4P746BqiiigKVynxL+ymqVynxL+ygaoqqyjbLQryCOHEqwl0IXEWkANy3Y1v03DDovvvxClLLb7aSMdniUZ3Cbr783jhGIeVzHmOnV8A4CGgorPPly2AkDJZIBcBs/HpCC8NddwPwL+fDcNNRTZatocFbBemZDmMkFhKTpjx4gDcLuBeXhoNNRWbbLNtJI2jm1uUh8SzkG/SMAZMRuI9IAuJvPBXVy5bMRG5puvOEmVV0KwAv0HhGn/jTw0GjorO2fLdsJIbJ5QXMQ2NTdcGwrd+I4govvA0k8FxMliyra2mVZLEEjbCMQkDFD5RZjo0i7ALtGkNpN4oLSP7w/RR/FLRRH94foo/ilooIzaUW0PjdVvijuxELf5UvLU26MWuj7a/OpytcwDkFBDujFro+2vzo3Ri10fbX51NgHIKMA5BQIWy3x3x77HxoPnryN+dM7oxa6Ptr86nwDkFcwDkFBDujFro+2vzo3Ri10fbX51NgHIKMA5BQLvlCK477Hwc9fnUNgyhHmY99j4tfxLyD86ewDkFGAcgoId0YtdH21+dG6MWuj7a/OpsA5BRgHIKCHdGLXR9tfnStkt8eOXfY+NH4l1cX51YYByCu4ByCgg3Ri10fbX50boxa6Ptr86mwDkFGAcgoId0YtdH21+dLSW+PPoc7H5j/jXlT86fwDkFdwDkFBBujFro+2vzo3Ri10fbX51NgHIKMA5BQQ7oxa6Ptr86Wyjb4zC4EsfBz1+dP4ByCu4ByCgg3Ri1sfbX50boxa6Ptr86mwDkFGAcgoId0YtdH21+dG6MWtj7a/OpsA5BRgHIKCHdGLXR9tfnRujFrY+2vzqbAOQUYByCgh3Ri1sfbX50boxa6Ptr86mwDkFGAcgoFLNOrTuVZW3uPzSGu0y8lFOAUUH/2Q=="/>
          <p:cNvSpPr>
            <a:spLocks noChangeAspect="1" noChangeArrowheads="1"/>
          </p:cNvSpPr>
          <p:nvPr/>
        </p:nvSpPr>
        <p:spPr bwMode="auto">
          <a:xfrm>
            <a:off x="4572000" y="-971550"/>
            <a:ext cx="2352675" cy="1943100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3188" name="AutoShape 4" descr="data:image/jpg;base64,/9j/4AAQSkZJRgABAQAAAQABAAD/2wCEAAkGBhQSDhQQEA8QEBQUEBkQFA4QFhEQFBAQFBwWFRUQFRQYHycqFxkjGRUTHy8iIycsLCwsFR4xQTIqNSYrLSkBCQoKBQUFDQUFDSkYEhgpKSkpKSkpKSkpKSkpKSkpKSkpKSkpKSkpKSkpKSkpKSkpKSkpKSkpKSkpKSkpKSkpKf/AABEIAMwA9wMBIgACEQEDEQH/xAAbAAACAwEBAQAAAAAAAAAAAAAABAMFBgECB//EAEkQAAIBAQMEDQkIAQMDBQEAAAECAwAEERIFEyFTBhQVIzEzUVJzkZKT0iIyQVRxsbLR0wc0QmFiY3Kis0OBoSR0dRY1NsHCCP/EABQBAQAAAAAAAAAAAAAAAAAAAAD/xAAUEQEAAAAAAAAAAAAAAAAAAAAA/9oADAMBAAIRAxEAPwD7PLaXzhRERrkViWcp5xYXABTzf+a5nJtXF3j/AE67H94foo/ilpqgUzk2ri7x/p0ZybVxd4/06booFM5Nq4u8f6dGcm1cXeP9Om6KBTOTauLvH+nRnJtXF3j/AE6booFM5Nq4u8f6dGcm1cXeP9Om6KBTOTauLvH+nRnJtXF3j/TrL5O+0FpctS5KNjwtCpkefPBlzVyFXC4LyTnI9HovOnRV3YNl1kmWV4bVFKsK4pShLZpdOluTzT1Ggdzk2ri7x/p0ZybVxd4/06rZNnNhWBLQ1tgELsUSYtcjuvnKG4CR/wDR5KnynssslnEZtFqihEq4o84cOcGjzb+HhGj86BvOTauLvH+nRnJtXF3j/TqOfL0CWiOzPMizSrijhN+J106VHpHknqqHZRsijsNjltc2IpGAcK6WdmIVUH5liBQNZybVxd4/06M5Nq4u8f6dYXYr9sAtNshslpsEtia0xCazu7iRZkYMVbzVuDBWuOm8i6qu1f8A9ARLLI0eT55bLHMIXtiuo8psWErGRpvCORew0D0UH07OTauLvH+nRnJtXF3j/TrH7LPtjsNiiVlfbUsiJIlniNzZuRQ6u7Eb2CjAgHSbxo9Ij2WfbNZLEqLcbROwUtZYmF8IYBt8e64EXjRw/kKDaZybVxd4/wBOjOTauLvH+nTQNdoFM5Nq4u8f6dGcm1cXeP8ATpuigUzk2ri7x/p0ZybVxd4/06booFM5Nq4u8f6dGcm1cXeP9Om6KBTOTauLvH+nRnJtXF3j/TpuigWs1oYuyOiqQqterFwQxYelRd5v/NFcj+8P0UfxS0UBH94foo/ilpqlY/vD9FH8UtNUBRRRQFFFFAUUUUBRRRQfJtjv/wA5yh/2Q+Gx1P8AZMdGWf8AyU3/AOqNhViefZPlDKcattUxbWSZlZBLKogVgmIDEAYXvI/Llq+H2evFPa3sVuazJbWMk0LRJNhka/FJC5YYCcR4Qw6hQfNNkf8A8Lyb/wB2nvtNfTPtY2ObcyTMqm6WAbbhN9xDxXkge1cS+0jkrxsk+zGO05Ns+TYp2s8NnZXBwCV3KBlUkkgaS7k6NJPopj/0VO00882UM7JLYmsKnMIiQxu2JmCB/KY/meTkuoEfs0tj5QUZXnW5mgWxwryLHcbTLcDozk4YfxiWtXsgyLBarM0FrQPCbnZWZox5BxAllIIAIv4fRSOwfYtudYlsYmz6ozFHKCMgOS5U3E3+UW06OGvOz/ItoteTZrLZJEiklATHIWVc2SM4pKgnSt44PTQfKNg9lGU9kBtkCFLFk6IQ2cHEd7jVo7OgLabz5chvvI4Dw18/yd/7Ba//ACFl+C019m+znYRlbJ7xwSTZP2mHd5o4gxlkLKbjiMYvN+AcPAt1Ze0fYdlBBNYoJrIbJLaUnz0hkEqiISKgKheG6Q3gX3kDSNNAl9p2S4l2O5JtCwxrK8MKvMqqHdRZxcGYC9rsK3X8F1TfbrkyJLPk2ZIY0kkRs5KiqrS3JBdjYDyrrzw8tbn7QvsymteS7HYbJJENq4VxTlkxIkebB8lW0nQaj+077NrTlGz2KKzvZ1azKwcys6gkrGow4UN+lDw3eig+lrwV2uCu0BRRRQFFFFAUUUUBRRRQKx/eH6KP4paKI/vD9FH8UtFBE8xW0PdG771HpUxi7ypecwqXbjery9cHjoRv+ofoo/ilpLZRY89Y5IlMt7YQDCY8YuZTiukIV1F17KfOUMum+6gd22/q8vXB46NuN6vL1weOvncOxm1XPnLLGpkzUxWJohEjR2aeJogpbyTnGW4C8DH51wJGm2FZJls2ejm0qrJFBKSpaSzIt8eO4+egbNknhzd/poL7bjery9cHjo243q8vXB46ZxjlFUmzHJW2rC9mUm+Ro1xIQGjGcQmUEkaVALcuigstuN6vL1weOjbjery9cHjr53FsZtmcd7TDtgSSvJLEjxYZJpbJCiugZh5CTCdBfcRjVrvSHtj2xy1w2yB5TnUJU2h2dTdaYbKIBaUBN5Ehd1bRffGhu0mg223G9Xl64PHRtxvV5euDx0xjHKK7jHKKBbbbery9cHjo22/q8vXB46zuXtjQmyhFKIUZTZ5xLKSuic7W2uTeb9Gae64XDTzjfl//AEraTHZcVlJzUMEMqE2aQsYbLaonNzOAymWWIAk+jFoABoPpW3G9Xl64PHRtxvV5euDx1NEwwjgGgaL77vyvr3jHKKBbbjery9cHjo22/q8vXB46yez3Y5NaZFay6C9knsssiuEZL83PAwvIv32HBo9ExqqtOxm0GYytZsRlsV7qu12CWyV7TK6B2cFcBmj8pb8QQLwUH0Hbjery9cHjo243q8vXB46zmwTJMsAkzq5lGis6LAWVrpo4gs81ykhcTYRoOnNk+nTrMY5RQLbcb1eXrg8dG239Xl64PHXu1QJIhjkCurC5kPAw5DyivmE2wu07TjWODNynJ1viluaC9rRNm1gQnHdeVQjEOD0kUH0zbjery9cHjo243q8vXB46yWxzIU0dsxPFgRbRaZw+KMqUnWEIoAN+IYXBF1wwfmL9tjHKKBbbjery9cHjo22/q8vXB46YxjlFfPdkWxSeaXKEixK2cezmAERFnwizrI6uXGFQElBQ3Yr7+Sg3W3G9Xl64PHRtxvV5euDx1kth+RZ4bYzzxYFFmkhxhozGzm1TyjNqGJSMxyIVU+aLlvJWtrjHKKBfbjery9cHjo243q8vXB46ZxjlFZjZ3k2SeFBAhkdHMixnNtDI2BkzVoVmXyGDsMS6UNzeigvttt6vL1weOjbjery9cHjr59lLY5aZXtDtZseeezWlAXibMyJaFE0VzPdi2qkIJGgiMjhYg/RbNCkaLGgCqihFUcCqouAH+1AvZZS08l6Mm9x6GwG/TLzWNFSRH/qH6KP4paKCM2ZGtD40Rroo/OUNd5UvLU250Wpj7C/KvMf3h+ij+KWmqBfc6LUx9hflRudFqY+wvypiigrrZk+O+Peo+NH4F5G/KmdzotTH2F+Vebbwx9KPc1NUC+50Wpj7C/Kjc6LUx9hflTFFAq+TorjvMXBzF+VQ2DJ8eZj3qPi1/AvIPyp5+A+yocn8TH0a+4UBudFqY+wvyo3Oi1MfYX5UxRQL7nRamPsL8qVsmT48cu9R8aPwLq4vyqypSx+fN0o/xxUHvc6LUx9hflRudFqY+wvypiigX3Oi1MfYX5UtJk+PPoM1H5j/AIF5Y/yqxpWXj4/4P746D1udFqY+wvyo3Oi1MfYX5UxRQL7nRamPsL8qWyjk+MQvvUfBzF+VWNK5T4l/ZQLSmBbQlnMK45EaRd6GHCmENe911/lDRw03udFqY+wvypa15NdrXDOsiKsSupjKMzPnMN5DhgFuwj8J9NWNAvudFqY+wvyrm50Wpj7C/KmaKCpgssawu+11kIkluREjLNdI9yi+4dZAr3kzMzxCRYFXynQo6IGSSNmjdDdeLwysLwSDdoJFdzLvZpEhlEMjPKFlK5zAxkfysN4vu9tS5GsBhgWIlDhvF8augN5JvON3JY33lixJJJ9NBLudFqY+wvyo3Oi1MfYX5UxRQJWaBVncIqrvUfmgLfpl5KK9x/eH6KP4paKAj+8P0UfxS01Ve9mDWhyS4uiTzXkT8UvoUi+oMmzQzhs29ovRgrJI1rhdSQGF6SEG4ggg3XUFvRSu5y86XvZ/FRucvOl72fxUBbeGPpR7mpqqy2ZPW+PypeNA42fkb9Vcvhz+1s7Jnc0Zs3nbReIwQuI+Vo0kDTw6eQ0FpRSu5y86XvZ/FRucvOl72fxUDD8B9lQ5P4mPo19wrw+TluPlS8Gtn8VVrSwwwQmRrR5YVFWM2yZmbAXICR4j5qseD0UF7RSi5PUi/FN/vLOP+MVd3OXnS97P4qBqlLH583Sj/HFXdzl50vez+KkM1HGJ5JJJFRJLyxln0DNxcjaT/wA0FzRSFmsySIHU2gAi8B3tUTf7o5BH+4qXc5edL3s/ioGqVl4+P+D++Ojc5edL3s/ipaTJ655Bil8x/wDVn5Y/1UFnRVPHaIWtG18VqElzMA+3UVlQqGZZGuVgC68BPnCntzl50vez+KgapXKfEv7KNzl50vez+Klso5PUQucUvBrZ/FQWdFU9qtMEcqxPLMHbDoD2pgucYpHjcG5MTgquIi8i4U9ucvOl72fxUDVcpbc5edL3s/io3OXnS97P4qAyd5h6WX/I9NVTJHFFA8skkqqskhLZ2c6BI40ANeSdAuGkk1PYFimjzkbzFbyumS0oyspKsrKzAqQQRcRQWVFK7nLzpe9n8VG5y86XvZ/FQEf3h+ij+KWio7LAFnkALHe4/OZ39MvOJurtB6Xj5LuHNJdfy3y0lkDJskbTySiNDNKJc1E7zKpwqrNnHVSSSOC64AC7009H94foo/ilpqgKKKKBW28MfSj3NVbZ9jWC37aWWQqyTY43IN8kpgII8m/CFhu0nRhQDQKsrbwx9KPc1NUBRRRQeX4D7KoMsZJe0WKJI0jZwgKSSSSwmBzGUEyNGpJYYjovF950ir9+A+yocn8TH0a+4UEsSkKATiIABY6MRHpr3RRQFUeVcmG0Q2iJSt+fjkAYsqsYhZ5QjFdIDYMJI0gG/TV5Slj8+bpR/jioIcgWB4bOI5CCcbsFVmdY0d2dIVZgCyopCgkDzeADQLGiigKVl4+P+D++OmqVl4+P+D++OghsuTmFpltEhUllWKIC/e4VGI33/iaRmJu9Cx8lWFFFAUrlPiX9lNUrlPiX9lBTZY2OSS22O0KUAXM3MWdWjzUrSSDNgXTB1KqMZGAriGmtHRRQFFFFBVS2ITWWWIqHxPLcpZovLEjlTnFBKEMAcQBIuvr1seyU0EJV2xO8rzOcTP5TknDiYAtcMIvuF919w4Azk7zD0sv+R6aoCiiigVj+8P0UfxS0UR/eH6KP4paKCJoS1oe6R03qPQojN/lS85TUu1G18vVD4KE49+ij+KWsFbYGay3CK1OBugIQ8dqZ1tkkoexS+WMQOAvhkOhb+EGg3u1G18vVD4KNqNr5eqHwUyvBprtBWWyytfHv8vGj0Q8jfopnaja+Xqh8FFt4Y+lHuaqdyBb7ViFpwtYogWUWrDiUzYhEyi4NhePRGcRJ5RQXG1G18vVD4KNqNr5eqHwUpsVJ3PswYOrCzRqyyK6OHVQrBlYAg3g8NWtAo9ka47/LwckPgqGwWVszHv8ALxa+iHkH6KffgPsrPZe+4QECYkTWV7oRM5uWSJnLLECSuAOSCLtHsoLnaja+Xqh8FG1G18vVD4KpMlopynM6QyQ4Y2jYmKZBanLIzTNIVwsFuCppJ8qT8N1+loFdqNr5eqHwUrZLK2Obf5eNHoh1cX6KtKrZLsFpxY7sRvzecx3ZqPzc35V/8dNAxtRtfL1Q+Cjaja+Xqh8FZGzw4hkwiGXPpHCJC0FoSQRqjKwM7ACNVbGWQ6X8kaL1v3FArtRtfL1Q+ClpLK2fTf5fMf0Q8sf6Ks6Vl4+P+D++OgNqNr5eqHwUbUbXy9UPgrP2mKZrZa0s+cUvHZ/LlNpjjuUy55YZSrBWwsnmaAWvuvvqz2IxOuTrMsqlHWzorIS5KkKBccQBvuuvvHDfw8NA7tRtfL1Q+Clso2Vsy+/y8HJD4Ks6VynxL+ygNqNr5eqHwUbUbXy9UPgqpyyP+vg4+42edGZFndFxBMN4UFQ2hrr9Po9NR7BYM3Z3jCAIkgRJhDJZWtCiOO+V45NOLFiUn04KC62o2vl6ofBRtRtfL1Q+CmqKCssFlbAd/l42T0Q6x/0UztRtfL1Q+CoobsxJixXY5r8GPFdjkvw4PKvu4MOnk01jbAJg1gYxO+CyWSNY54J2Ky42jtjlzdmZEQI2JxewW4X3m8NvtRtfL1Q+Cjaja+Xqh8FNUUCNliKzyXuz73HpbALtMvNArte4/vD9FH8UtFAR/eH6KP4paapBse2HwYOKjvxYudLyVLv37X96Bqild+/a/vRv37X96AtvDH0o9zU1VbbM7fHxXGjn8jUxv37X96Bqild+/a/vRv37X96Bh+A+yocn8TH0a+4V4fO3HiuD9dQ2DO5mPiuLXn8goLGild+/a/vRv37X96BqlLH583Sj/HFXd+/a/vS1kzuObiuNHP1cVBZ0Urvv7X96N+/a/vQNUrLx8f8AB/fHRv37X96XlzufTivMfn8sdBZUUrv37X96N+/a/vQNUrlPiX9lG/ftf3pfKOdzL8VwfroLKild+/a/vRv37X96Bqild+/a/vRv37X96Ayf5h6WX/I9NVWZPzuA8VxsnP1j0zvv7X96Bqild+/a/vRv37X96Aj+8P0UfxS0VHZcWfkx4eKjuw38svLXaD2nHv0UfxS1lpbbJJY2C2yQzm3TWWF4jEuJzI6pjUKb1jjUuRw4YzWpj+8P0UfxS1LFZEXzY0XTi8lVGm66/R6btFB7QXAC8m4XXm68/mbq9UUUCtt4Y+lHuas3l/K8iS2tEtAF0FkMaEoubaaaSJ/KuJQMAgLkHBeGuN1x0lt4Y+lHuapGsaEsTGhLLhYlVJZToKk+kXAaPyoK3Ypa2ksitIzMwkljJYqxGblkQJjGh8IULi/Fhv8ATVxXmOMKoVQFAFwVQAABwAAcAr1QeX4D7KosrWxorHZ3WbNb/ZUYnB5cbyRI8flcF6s3Bp0VevwH2UrZbOrwRh0Vxm1NzAML8N19x9poKLI1un3RkhlZ2GCaRhigeNFEqLZcAQ4o74i4IcC9ozdfcTWpqOOBVLFVVSxxMVABZuC83cJqSgKqLbaESK0vLM0CBwWlQgMowQ6F0HSeAAC8k6NN1W9JWeIM0ysoYGUXqwBB3uLhBoMfZMrziWIPaWLA2YLBihfOx2iedJBIUG+OkKLeVNwaFjwE372oEsUYKlY4wUvCkKowBvOC6NF/puqegKVl4+P+D++OmqVl4+P+D++OgzNuykwktpgtrYYrNIWLtC4jtS3FViUjQEW9WvvF7qNLK12oyfNjhje8NijVsQuN5IGnRQbBHexzUd7C5jhW9hw3E3adIHVU0cYUBVAUDQFAAAHIAKD1SuU+Jf2U1SuU+Jf2UFRlu2XW2COO0sj3h5IS0YjFm8oM7qwvLMblW433reNCvXvYjazJHK4naeIzbw8jI7mLAl7EqB5LOJGW/ThYcAIAuJLIjMGaNGYcDMqkj06CeCuwWVEvCIiXm8hFC3nlN1BLRRRQVjzKllleSUwopmLTAgGNQ8l7gkG672Vm0yhIIrLIbW+I2tUzbSQs+1pZykayRBd8coVQ6QU0t5RU4tZYkBjYMAQZZQQdIIzj6CK9pk+JSpWKMFb8JCqCuLhwm7Rf+VAxRRRQKx/eH6KP4paKI/vD9FH8UtFBE0rC0PhjL71HpvUXeVLy1Ltl9Se0leWYCWQsbgIUJOkXC+a81hJbfM1ikksUkkkJnzoAtDPPCiiERxMzksodhJIy33gMF0XtcG92xJqD2ko2xJqD2kpkV2grbZaHvj3k8aPxJyNTG2X1J7SUW3hj6Ue5qymW7Sj2u0Rx202ZkszJK0k8qrnHERQpFjGBUQEl0w8Zwk47g1e2H1J7SUbYk1B7SUnsVtOOyI1x8+RQxklnEgV3USrJISzIwAYXngYXXi41bUCj2h7jvJ4OclQ2C0PmY95PFr+JOQU+/AfZWW2U2pFsESGVoZJFCQyiWSzrHKU46RlIBVBe2Fr7yAACSKDQ7Yk1J7SUbYk1B7SVnNjmUXa3zLI2cLGYkB5f+njilVYFaInCokiZXVgAThY+VebtbQK7Yk1B7SUtZLQ+ObeTxo/Emriqzqkynao44LU85cRhxizbPG58iEBVZSCCSQOEDTpIF9BY7ZfUntJRtiTUHtJWXyVAZGsaraJZGVTPLLFaJ5IhCjMI7OSGwynGwTEwJZYHv03VsqBXbEmoPaSl5LQ+fTeT5j/iTljqypWXj4/4P746A2y+pPaSjbEmpPaSsTlnKKma0Zi0sgWSOKVJJ5rjJn487IVxXwQKt8ZZbgc4dFygnVbFJmawws5ctg0s5LFriQGDHS6kAFWOkrcTpJoHNsSag9pKXyjaHzL7yeDnJVlSuU+Jf2UBth9Se0lG2H1J7SVQ7IrSu3YIY7QYJyMeJpXWPNnGqpmS2GV3fRdcSApN4IW/mwSWRklxPnIwyKkmee1q8gRc80czgYlLXcGgHFwG8AL/AGxJqD2ko2xJqD2kpqigrMn2h8B3k8bJ+JNY9M7ZfUntJS+NBZpDK5RMcuNwzR4Vzj3tjUgr7QRdWIsVukvjBnlJEsYsuGWZ0nvtjraMBJ3+MQZsXvfcl5Fw00G/2xJqD2ko2xJqD2kpqigRssjGeTEmDeo9F4N+mXkrte4/vD9FH8UtFAR/eH6KP4paapB7SFtD3hzfFH5qSP8Ail9Kg1LuivNl7qfw0DVFK7orzZe6n8NG6K82Xup/DQFt4Y+lHuamqrLZlBb4/Jl40Hip+Rv00zuivNl7qfw0DVFK7orzZe6n8NG6K82Xup/DQMPwH2VDk/iY+jX3CvD5RW4+TLwaqfw1DYMoLmY/Jl4tf9KfkH6aCxopXdFebL3U/ho3RXmy91P4aBqlLH583Sj/ABxV3dFebL3U/hpWyZQXHL5MvGj/AEp9XF+mgtKKV3RXmy91P4aN0V5svdT+GgapWXj4/wCD++OjdFebL3U/hpaTKC59Dhl8x/8ASn5Y/wBNBZ0UruivNl7qfw0borzZe6n8NA1SuU+Jf2UborzZe6n8NLZRygphcYZeDVT+Ggs6KV3RXmy91P4aN0V5svdT+GgaopXdFebL3U/ho3RXmy91P4aAyf5h6WX/ACPTVVtitoVSCso3yQ8VNwM7EHzeQimN0V5svdT+GgaopXdFebL3U/ho3RXmy91P4aAj+8P0UfxS0VHZZw08hAYb3H5yunpl5wF9doPace/RR++Ws2mVLQglRpsTRZQs0V80ceNrPO8KMRmiFAYu5U3EgC4i/SNIovncHSM0guPp0y0uuxuyiPNCyWfN487m82mHOAXB7rvOAAAPoAHJQWIrtFFArbeGPpR7mpqlbbwx9KPc1NUBRRRQeX4D7KhyfxMfRr7hUz8B9lQ5P4mPo19woGKKKKApSx+fN0o/xxU3Slj8+bpR/jioG6KKKApWXj4/4P746apWXj4/4P746BqiiigKVynxL+ymqVynxL+ygaoqqyjbLQryCOHEqwl0IXEWkANy3Y1v03DDovvvxClLLb7aSMdniUZ3Cbr783jhGIeVzHmOnV8A4CGgorPPly2AkDJZIBcBs/HpCC8NddwPwL+fDcNNRTZatocFbBemZDmMkFhKTpjx4gDcLuBeXhoNNRWbbLNtJI2jm1uUh8SzkG/SMAZMRuI9IAuJvPBXVy5bMRG5puvOEmVV0KwAv0HhGn/jTw0GjorO2fLdsJIbJ5QXMQ2NTdcGwrd+I4govvA0k8FxMliyra2mVZLEEjbCMQkDFD5RZjo0i7ALtGkNpN4oLSP7w/RR/FLRRH94foo/ilooIzaUW0PjdVvijuxELf5UvLU26MWuj7a/OpytcwDkFBDujFro+2vzo3Ri10fbX51NgHIKMA5BQIWy3x3x77HxoPnryN+dM7oxa6Ptr86nwDkFcwDkFBDujFro+2vzo3Ri10fbX51NgHIKMA5BQLvlCK477Hwc9fnUNgyhHmY99j4tfxLyD86ewDkFGAcgoId0YtdH21+dG6MWuj7a/OpsA5BRgHIKCHdGLXR9tfnStkt8eOXfY+NH4l1cX51YYByCu4ByCgg3Ri10fbX50boxa6Ptr86mwDkFGAcgoId0YtdH21+dLSW+PPoc7H5j/jXlT86fwDkFdwDkFBBujFro+2vzo3Ri10fbX51NgHIKMA5BQQ7oxa6Ptr86Wyjb4zC4EsfBz1+dP4ByCu4ByCgg3Ri1sfbX50boxa6Ptr86mwDkFGAcgoId0YtdH21+dG6MWtj7a/OpsA5BRgHIKCHdGLXR9tfnRujFrY+2vzqbAOQUYByCgh3Ri1sfbX50boxa6Ptr86mwDkFGAcgoFLNOrTuVZW3uPzSGu0y8lFOAUUH/2Q=="/>
          <p:cNvSpPr>
            <a:spLocks noChangeAspect="1" noChangeArrowheads="1"/>
          </p:cNvSpPr>
          <p:nvPr/>
        </p:nvSpPr>
        <p:spPr bwMode="auto">
          <a:xfrm>
            <a:off x="79375" y="-727075"/>
            <a:ext cx="1828800" cy="1504950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Rectangle 2"/>
          <p:cNvSpPr txBox="1">
            <a:spLocks noChangeArrowheads="1"/>
          </p:cNvSpPr>
          <p:nvPr/>
        </p:nvSpPr>
        <p:spPr bwMode="auto">
          <a:xfrm>
            <a:off x="2667000" y="6721475"/>
            <a:ext cx="6858000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marL="0" lvl="1" defTabSz="1019175" eaLnBrk="0" hangingPunct="0">
              <a:lnSpc>
                <a:spcPts val="2788"/>
              </a:lnSpc>
            </a:pPr>
            <a:r>
              <a:rPr lang="en-US" sz="2300" b="1" kern="0" dirty="0" smtClean="0">
                <a:ea typeface="LF_Kai" pitchFamily="2" charset="-122"/>
              </a:rPr>
              <a:t>What frustrations do we have with the rest of OP?</a:t>
            </a:r>
            <a:endParaRPr kumimoji="0" lang="en-US" sz="2300" b="1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rebuchet MS" pitchFamily="34" charset="0"/>
              <a:ea typeface="LF_Kai" pitchFamily="2" charset="-122"/>
              <a:cs typeface="LF_Kai"/>
            </a:endParaRPr>
          </a:p>
        </p:txBody>
      </p:sp>
      <p:pic>
        <p:nvPicPr>
          <p:cNvPr id="100354" name="Picture 2" descr="http://4.bp.blogspot.com/-CHIeqW98gv8/TahoKjATjLI/AAAAAAAAADU/MM4DrMy7WGk/s320/businessman-banging-his-head-against-the-wall-ispc026073%255B1%255D.jpg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99635" y="1350334"/>
            <a:ext cx="4034118" cy="5105400"/>
          </a:xfrm>
          <a:prstGeom prst="rect">
            <a:avLst/>
          </a:prstGeom>
          <a:noFill/>
          <a:ln w="25400">
            <a:solidFill>
              <a:schemeClr val="bg1">
                <a:lumMod val="50000"/>
              </a:schemeClr>
            </a:solidFill>
          </a:ln>
        </p:spPr>
      </p:pic>
    </p:spTree>
    <p:custDataLst>
      <p:tags r:id="rId1"/>
    </p:custDataLst>
  </p:cSld>
  <p:clrMapOvr>
    <a:masterClrMapping/>
  </p:clrMapOvr>
  <p:transition xmlns:p14="http://schemas.microsoft.com/office/powerpoint/2010/main">
    <p:cut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02" name="Picture 2" descr="http://wellnessbriefs.files.wordpress.com/2011/06/num5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743200" y="685800"/>
            <a:ext cx="4705350" cy="5915026"/>
          </a:xfrm>
          <a:prstGeom prst="rect">
            <a:avLst/>
          </a:prstGeom>
          <a:noFill/>
        </p:spPr>
      </p:pic>
      <p:sp>
        <p:nvSpPr>
          <p:cNvPr id="24577" name="Rectangle 2"/>
          <p:cNvSpPr>
            <a:spLocks noGrp="1" noChangeArrowheads="1"/>
          </p:cNvSpPr>
          <p:nvPr>
            <p:ph type="title"/>
          </p:nvPr>
        </p:nvSpPr>
        <p:spPr>
          <a:xfrm>
            <a:off x="762000" y="838200"/>
            <a:ext cx="7696200" cy="288925"/>
          </a:xfrm>
        </p:spPr>
        <p:txBody>
          <a:bodyPr/>
          <a:lstStyle/>
          <a:p>
            <a:pPr lvl="1"/>
            <a:r>
              <a:rPr lang="en-US" sz="2300" dirty="0" smtClean="0"/>
              <a:t>Let’s brainstorm… </a:t>
            </a:r>
          </a:p>
        </p:txBody>
      </p:sp>
      <p:sp>
        <p:nvSpPr>
          <p:cNvPr id="56" name="TextBox 55"/>
          <p:cNvSpPr txBox="1"/>
          <p:nvPr/>
        </p:nvSpPr>
        <p:spPr>
          <a:xfrm rot="233865">
            <a:off x="5286126" y="655755"/>
            <a:ext cx="808076" cy="307777"/>
          </a:xfrm>
          <a:prstGeom prst="rect">
            <a:avLst/>
          </a:prstGeom>
          <a:noFill/>
          <a:ln w="5080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Values</a:t>
            </a:r>
          </a:p>
        </p:txBody>
      </p:sp>
      <p:sp>
        <p:nvSpPr>
          <p:cNvPr id="93186" name="AutoShape 2" descr="data:image/jpg;base64,/9j/4AAQSkZJRgABAQAAAQABAAD/2wCEAAkGBhQSDhQQEA8QEBQUEBkQFA4QFhEQFBAQFBwWFRUQFRQYHycqFxkjGRUTHy8iIycsLCwsFR4xQTIqNSYrLSkBCQoKBQUFDQUFDSkYEhgpKSkpKSkpKSkpKSkpKSkpKSkpKSkpKSkpKSkpKSkpKSkpKSkpKSkpKSkpKSkpKSkpKf/AABEIAMwA9wMBIgACEQEDEQH/xAAbAAACAwEBAQAAAAAAAAAAAAAABAMFBgECB//EAEkQAAIBAQMEDQkIAQMDBQEAAAECAwAEERIFEyFTBhQVIzEzUVJzkZKT0iIyQVRxsbLR0wc0QmFiY3Kis0OBoSR0dRY1NsHCCP/EABQBAQAAAAAAAAAAAAAAAAAAAAD/xAAUEQEAAAAAAAAAAAAAAAAAAAAA/9oADAMBAAIRAxEAPwD7PLaXzhRERrkViWcp5xYXABTzf+a5nJtXF3j/AE67H94foo/ilpqgUzk2ri7x/p0ZybVxd4/06booFM5Nq4u8f6dGcm1cXeP9Om6KBTOTauLvH+nRnJtXF3j/AE6booFM5Nq4u8f6dGcm1cXeP9Om6KBTOTauLvH+nRnJtXF3j/TrL5O+0FpctS5KNjwtCpkefPBlzVyFXC4LyTnI9HovOnRV3YNl1kmWV4bVFKsK4pShLZpdOluTzT1Ggdzk2ri7x/p0ZybVxd4/06rZNnNhWBLQ1tgELsUSYtcjuvnKG4CR/wDR5KnynssslnEZtFqihEq4o84cOcGjzb+HhGj86BvOTauLvH+nRnJtXF3j/TqOfL0CWiOzPMizSrijhN+J106VHpHknqqHZRsijsNjltc2IpGAcK6WdmIVUH5liBQNZybVxd4/06M5Nq4u8f6dYXYr9sAtNshslpsEtia0xCazu7iRZkYMVbzVuDBWuOm8i6qu1f8A9ARLLI0eT55bLHMIXtiuo8psWErGRpvCORew0D0UH07OTauLvH+nRnJtXF3j/TrH7LPtjsNiiVlfbUsiJIlniNzZuRQ6u7Eb2CjAgHSbxo9Ij2WfbNZLEqLcbROwUtZYmF8IYBt8e64EXjRw/kKDaZybVxd4/wBOjOTauLvH+nTQNdoFM5Nq4u8f6dGcm1cXeP8ATpuigUzk2ri7x/p0ZybVxd4/06booFM5Nq4u8f6dGcm1cXeP9Om6KBTOTauLvH+nRnJtXF3j/TpuigWs1oYuyOiqQqterFwQxYelRd5v/NFcj+8P0UfxS0UBH94foo/ilpqlY/vD9FH8UtNUBRRRQFFFFAUUUUBRRRQfJtjv/wA5yh/2Q+Gx1P8AZMdGWf8AyU3/AOqNhViefZPlDKcattUxbWSZlZBLKogVgmIDEAYXvI/Llq+H2evFPa3sVuazJbWMk0LRJNhka/FJC5YYCcR4Qw6hQfNNkf8A8Lyb/wB2nvtNfTPtY2ObcyTMqm6WAbbhN9xDxXkge1cS+0jkrxsk+zGO05Ns+TYp2s8NnZXBwCV3KBlUkkgaS7k6NJPopj/0VO00882UM7JLYmsKnMIiQxu2JmCB/KY/meTkuoEfs0tj5QUZXnW5mgWxwryLHcbTLcDozk4YfxiWtXsgyLBarM0FrQPCbnZWZox5BxAllIIAIv4fRSOwfYtudYlsYmz6ozFHKCMgOS5U3E3+UW06OGvOz/ItoteTZrLZJEiklATHIWVc2SM4pKgnSt44PTQfKNg9lGU9kBtkCFLFk6IQ2cHEd7jVo7OgLabz5chvvI4Dw18/yd/7Ba//ACFl+C019m+znYRlbJ7xwSTZP2mHd5o4gxlkLKbjiMYvN+AcPAt1Ze0fYdlBBNYoJrIbJLaUnz0hkEqiISKgKheG6Q3gX3kDSNNAl9p2S4l2O5JtCwxrK8MKvMqqHdRZxcGYC9rsK3X8F1TfbrkyJLPk2ZIY0kkRs5KiqrS3JBdjYDyrrzw8tbn7QvsymteS7HYbJJENq4VxTlkxIkebB8lW0nQaj+077NrTlGz2KKzvZ1azKwcys6gkrGow4UN+lDw3eig+lrwV2uCu0BRRRQFFFFAUUUUBRRRQKx/eH6KP4paKI/vD9FH8UtFBE8xW0PdG771HpUxi7ypecwqXbjery9cHjoRv+ofoo/ilpLZRY89Y5IlMt7YQDCY8YuZTiukIV1F17KfOUMum+6gd22/q8vXB46NuN6vL1weOvncOxm1XPnLLGpkzUxWJohEjR2aeJogpbyTnGW4C8DH51wJGm2FZJls2ejm0qrJFBKSpaSzIt8eO4+egbNknhzd/poL7bjery9cHjo243q8vXB46ZxjlFUmzHJW2rC9mUm+Ro1xIQGjGcQmUEkaVALcuigstuN6vL1weOjbjery9cHjr53FsZtmcd7TDtgSSvJLEjxYZJpbJCiugZh5CTCdBfcRjVrvSHtj2xy1w2yB5TnUJU2h2dTdaYbKIBaUBN5Ehd1bRffGhu0mg223G9Xl64PHRtxvV5euDx0xjHKK7jHKKBbbbery9cHjo22/q8vXB46zuXtjQmyhFKIUZTZ5xLKSuic7W2uTeb9Gae64XDTzjfl//AEraTHZcVlJzUMEMqE2aQsYbLaonNzOAymWWIAk+jFoABoPpW3G9Xl64PHRtxvV5euDx1NEwwjgGgaL77vyvr3jHKKBbbjery9cHjo22/q8vXB46yez3Y5NaZFay6C9knsssiuEZL83PAwvIv32HBo9ExqqtOxm0GYytZsRlsV7qu12CWyV7TK6B2cFcBmj8pb8QQLwUH0Hbjery9cHjo243q8vXB46zmwTJMsAkzq5lGis6LAWVrpo4gs81ykhcTYRoOnNk+nTrMY5RQLbcb1eXrg8dG239Xl64PHXu1QJIhjkCurC5kPAw5DyivmE2wu07TjWODNynJ1viluaC9rRNm1gQnHdeVQjEOD0kUH0zbjery9cHjo243q8vXB46yWxzIU0dsxPFgRbRaZw+KMqUnWEIoAN+IYXBF1wwfmL9tjHKKBbbjery9cHjo22/q8vXB46YxjlFfPdkWxSeaXKEixK2cezmAERFnwizrI6uXGFQElBQ3Yr7+Sg3W3G9Xl64PHRtxvV5euDx1kth+RZ4bYzzxYFFmkhxhozGzm1TyjNqGJSMxyIVU+aLlvJWtrjHKKBfbjery9cHjo243q8vXB46ZxjlFZjZ3k2SeFBAhkdHMixnNtDI2BkzVoVmXyGDsMS6UNzeigvttt6vL1weOjbjery9cHjr59lLY5aZXtDtZseeezWlAXibMyJaFE0VzPdi2qkIJGgiMjhYg/RbNCkaLGgCqihFUcCqouAH+1AvZZS08l6Mm9x6GwG/TLzWNFSRH/qH6KP4paKCM2ZGtD40Rroo/OUNd5UvLU250Wpj7C/KvMf3h+ij+KWmqBfc6LUx9hflRudFqY+wvypiigrrZk+O+Peo+NH4F5G/KmdzotTH2F+Vebbwx9KPc1NUC+50Wpj7C/Kjc6LUx9hflTFFAq+TorjvMXBzF+VQ2DJ8eZj3qPi1/AvIPyp5+A+yocn8TH0a+4UBudFqY+wvyo3Oi1MfYX5UxRQL7nRamPsL8qVsmT48cu9R8aPwLq4vyqypSx+fN0o/xxUHvc6LUx9hflRudFqY+wvypiigX3Oi1MfYX5UtJk+PPoM1H5j/AIF5Y/yqxpWXj4/4P746D1udFqY+wvyo3Oi1MfYX5UxRQL7nRamPsL8qWyjk+MQvvUfBzF+VWNK5T4l/ZQLSmBbQlnMK45EaRd6GHCmENe911/lDRw03udFqY+wvypa15NdrXDOsiKsSupjKMzPnMN5DhgFuwj8J9NWNAvudFqY+wvyrm50Wpj7C/KmaKCpgssawu+11kIkluREjLNdI9yi+4dZAr3kzMzxCRYFXynQo6IGSSNmjdDdeLwysLwSDdoJFdzLvZpEhlEMjPKFlK5zAxkfysN4vu9tS5GsBhgWIlDhvF8augN5JvON3JY33lixJJJ9NBLudFqY+wvyo3Oi1MfYX5UxRQJWaBVncIqrvUfmgLfpl5KK9x/eH6KP4paKAj+8P0UfxS01Ve9mDWhyS4uiTzXkT8UvoUi+oMmzQzhs29ovRgrJI1rhdSQGF6SEG4ggg3XUFvRSu5y86XvZ/FRucvOl72fxUBbeGPpR7mpqqy2ZPW+PypeNA42fkb9Vcvhz+1s7Jnc0Zs3nbReIwQuI+Vo0kDTw6eQ0FpRSu5y86XvZ/FRucvOl72fxUDD8B9lQ5P4mPo19wrw+TluPlS8Gtn8VVrSwwwQmRrR5YVFWM2yZmbAXICR4j5qseD0UF7RSi5PUi/FN/vLOP+MVd3OXnS97P4qBqlLH583Sj/HFXdzl50vez+KkM1HGJ5JJJFRJLyxln0DNxcjaT/wA0FzRSFmsySIHU2gAi8B3tUTf7o5BH+4qXc5edL3s/ioGqVl4+P+D++Ojc5edL3s/ipaTJ655Bil8x/wDVn5Y/1UFnRVPHaIWtG18VqElzMA+3UVlQqGZZGuVgC68BPnCntzl50vez+KgapXKfEv7KNzl50vez+Klso5PUQucUvBrZ/FQWdFU9qtMEcqxPLMHbDoD2pgucYpHjcG5MTgquIi8i4U9ucvOl72fxUDVcpbc5edL3s/io3OXnS97P4qAyd5h6WX/I9NVTJHFFA8skkqqskhLZ2c6BI40ANeSdAuGkk1PYFimjzkbzFbyumS0oyspKsrKzAqQQRcRQWVFK7nLzpe9n8VG5y86XvZ/FQEf3h+ij+KWio7LAFnkALHe4/OZ39MvOJurtB6Xj5LuHNJdfy3y0lkDJskbTySiNDNKJc1E7zKpwqrNnHVSSSOC64AC7009H94foo/ilpqgKKKKBW28MfSj3NVbZ9jWC37aWWQqyTY43IN8kpgII8m/CFhu0nRhQDQKsrbwx9KPc1NUBRRRQeX4D7KoMsZJe0WKJI0jZwgKSSSSwmBzGUEyNGpJYYjovF950ir9+A+yocn8TH0a+4UEsSkKATiIABY6MRHpr3RRQFUeVcmG0Q2iJSt+fjkAYsqsYhZ5QjFdIDYMJI0gG/TV5Slj8+bpR/jioIcgWB4bOI5CCcbsFVmdY0d2dIVZgCyopCgkDzeADQLGiigKVl4+P+D++OmqVl4+P+D++OghsuTmFpltEhUllWKIC/e4VGI33/iaRmJu9Cx8lWFFFAUrlPiX9lNUrlPiX9lBTZY2OSS22O0KUAXM3MWdWjzUrSSDNgXTB1KqMZGAriGmtHRRQFFFFBVS2ITWWWIqHxPLcpZovLEjlTnFBKEMAcQBIuvr1seyU0EJV2xO8rzOcTP5TknDiYAtcMIvuF919w4Azk7zD0sv+R6aoCiiigVj+8P0UfxS0UR/eH6KP4paKCJoS1oe6R03qPQojN/lS85TUu1G18vVD4KE49+ij+KWsFbYGay3CK1OBugIQ8dqZ1tkkoexS+WMQOAvhkOhb+EGg3u1G18vVD4KNqNr5eqHwUyvBprtBWWyytfHv8vGj0Q8jfopnaja+Xqh8FFt4Y+lHuaqdyBb7ViFpwtYogWUWrDiUzYhEyi4NhePRGcRJ5RQXG1G18vVD4KNqNr5eqHwUpsVJ3PswYOrCzRqyyK6OHVQrBlYAg3g8NWtAo9ka47/LwckPgqGwWVszHv8ALxa+iHkH6KffgPsrPZe+4QECYkTWV7oRM5uWSJnLLECSuAOSCLtHsoLnaja+Xqh8FG1G18vVD4KpMlopynM6QyQ4Y2jYmKZBanLIzTNIVwsFuCppJ8qT8N1+loFdqNr5eqHwUrZLK2Obf5eNHoh1cX6KtKrZLsFpxY7sRvzecx3ZqPzc35V/8dNAxtRtfL1Q+Cjaja+Xqh8FZGzw4hkwiGXPpHCJC0FoSQRqjKwM7ACNVbGWQ6X8kaL1v3FArtRtfL1Q+ClpLK2fTf5fMf0Q8sf6Ks6Vl4+P+D++OgNqNr5eqHwUbUbXy9UPgrP2mKZrZa0s+cUvHZ/LlNpjjuUy55YZSrBWwsnmaAWvuvvqz2IxOuTrMsqlHWzorIS5KkKBccQBvuuvvHDfw8NA7tRtfL1Q+Clso2Vsy+/y8HJD4Ks6VynxL+ygNqNr5eqHwUbUbXy9UPgqpyyP+vg4+42edGZFndFxBMN4UFQ2hrr9Po9NR7BYM3Z3jCAIkgRJhDJZWtCiOO+V45NOLFiUn04KC62o2vl6ofBRtRtfL1Q+CmqKCssFlbAd/l42T0Q6x/0UztRtfL1Q+CoobsxJixXY5r8GPFdjkvw4PKvu4MOnk01jbAJg1gYxO+CyWSNY54J2Ky42jtjlzdmZEQI2JxewW4X3m8NvtRtfL1Q+Cjaja+Xqh8FNUUCNliKzyXuz73HpbALtMvNArte4/vD9FH8UtFAR/eH6KP4paapBse2HwYOKjvxYudLyVLv37X96Bqild+/a/vRv37X96AtvDH0o9zU1VbbM7fHxXGjn8jUxv37X96Bqild+/a/vRv37X96Bh+A+yocn8TH0a+4V4fO3HiuD9dQ2DO5mPiuLXn8goLGild+/a/vRv37X96BqlLH583Sj/HFXd+/a/vS1kzuObiuNHP1cVBZ0Urvv7X96N+/a/vQNUrLx8f8AB/fHRv37X96XlzufTivMfn8sdBZUUrv37X96N+/a/vQNUrlPiX9lG/ftf3pfKOdzL8VwfroLKild+/a/vRv37X96Bqild+/a/vRv37X96Ayf5h6WX/I9NVWZPzuA8VxsnP1j0zvv7X96Bqild+/a/vRv37X96Aj+8P0UfxS0VHZcWfkx4eKjuw38svLXaD2nHv0UfxS1lpbbJJY2C2yQzm3TWWF4jEuJzI6pjUKb1jjUuRw4YzWpj+8P0UfxS1LFZEXzY0XTi8lVGm66/R6btFB7QXAC8m4XXm68/mbq9UUUCtt4Y+lHuas3l/K8iS2tEtAF0FkMaEoubaaaSJ/KuJQMAgLkHBeGuN1x0lt4Y+lHuapGsaEsTGhLLhYlVJZToKk+kXAaPyoK3Ypa2ksitIzMwkljJYqxGblkQJjGh8IULi/Fhv8ATVxXmOMKoVQFAFwVQAABwAAcAr1QeX4D7KosrWxorHZ3WbNb/ZUYnB5cbyRI8flcF6s3Bp0VevwH2UrZbOrwRh0Vxm1NzAML8N19x9poKLI1un3RkhlZ2GCaRhigeNFEqLZcAQ4o74i4IcC9ozdfcTWpqOOBVLFVVSxxMVABZuC83cJqSgKqLbaESK0vLM0CBwWlQgMowQ6F0HSeAAC8k6NN1W9JWeIM0ysoYGUXqwBB3uLhBoMfZMrziWIPaWLA2YLBihfOx2iedJBIUG+OkKLeVNwaFjwE372oEsUYKlY4wUvCkKowBvOC6NF/puqegKVl4+P+D++OmqVl4+P+D++OgzNuykwktpgtrYYrNIWLtC4jtS3FViUjQEW9WvvF7qNLK12oyfNjhje8NijVsQuN5IGnRQbBHexzUd7C5jhW9hw3E3adIHVU0cYUBVAUDQFAAAHIAKD1SuU+Jf2U1SuU+Jf2UFRlu2XW2COO0sj3h5IS0YjFm8oM7qwvLMblW433reNCvXvYjazJHK4naeIzbw8jI7mLAl7EqB5LOJGW/ThYcAIAuJLIjMGaNGYcDMqkj06CeCuwWVEvCIiXm8hFC3nlN1BLRRRQVjzKllleSUwopmLTAgGNQ8l7gkG672Vm0yhIIrLIbW+I2tUzbSQs+1pZykayRBd8coVQ6QU0t5RU4tZYkBjYMAQZZQQdIIzj6CK9pk+JSpWKMFb8JCqCuLhwm7Rf+VAxRRRQKx/eH6KP4paKI/vD9FH8UtFBE0rC0PhjL71HpvUXeVLy1Ltl9Se0leWYCWQsbgIUJOkXC+a81hJbfM1ikksUkkkJnzoAtDPPCiiERxMzksodhJIy33gMF0XtcG92xJqD2ko2xJqD2kpkV2grbZaHvj3k8aPxJyNTG2X1J7SUW3hj6Ue5qymW7Sj2u0Rx202ZkszJK0k8qrnHERQpFjGBUQEl0w8Zwk47g1e2H1J7SUbYk1B7SUnsVtOOyI1x8+RQxklnEgV3USrJISzIwAYXngYXXi41bUCj2h7jvJ4OclQ2C0PmY95PFr+JOQU+/AfZWW2U2pFsESGVoZJFCQyiWSzrHKU46RlIBVBe2Fr7yAACSKDQ7Yk1J7SUbYk1B7SVnNjmUXa3zLI2cLGYkB5f+njilVYFaInCokiZXVgAThY+VebtbQK7Yk1B7SUtZLQ+ObeTxo/Emriqzqkynao44LU85cRhxizbPG58iEBVZSCCSQOEDTpIF9BY7ZfUntJRtiTUHtJWXyVAZGsaraJZGVTPLLFaJ5IhCjMI7OSGwynGwTEwJZYHv03VsqBXbEmoPaSl5LQ+fTeT5j/iTljqypWXj4/4P746A2y+pPaSjbEmpPaSsTlnKKma0Zi0sgWSOKVJJ5rjJn487IVxXwQKt8ZZbgc4dFygnVbFJmawws5ctg0s5LFriQGDHS6kAFWOkrcTpJoHNsSag9pKXyjaHzL7yeDnJVlSuU+Jf2UBth9Se0lG2H1J7SVQ7IrSu3YIY7QYJyMeJpXWPNnGqpmS2GV3fRdcSApN4IW/mwSWRklxPnIwyKkmee1q8gRc80czgYlLXcGgHFwG8AL/AGxJqD2ko2xJqD2kpqigrMn2h8B3k8bJ+JNY9M7ZfUntJS+NBZpDK5RMcuNwzR4Vzj3tjUgr7QRdWIsVukvjBnlJEsYsuGWZ0nvtjraMBJ3+MQZsXvfcl5Fw00G/2xJqD2ko2xJqD2kpqigRssjGeTEmDeo9F4N+mXkrte4/vD9FH8UtFAR/eH6KP4paapB7SFtD3hzfFH5qSP8Ail9Kg1LuivNl7qfw0DVFK7orzZe6n8NG6K82Xup/DQFt4Y+lHuamqrLZlBb4/Jl40Hip+Rv00zuivNl7qfw0DVFK7orzZe6n8NG6K82Xup/DQMPwH2VDk/iY+jX3CvD5RW4+TLwaqfw1DYMoLmY/Jl4tf9KfkH6aCxopXdFebL3U/ho3RXmy91P4aBqlLH583Sj/ABxV3dFebL3U/hpWyZQXHL5MvGj/AEp9XF+mgtKKV3RXmy91P4aN0V5svdT+GgapWXj4/wCD++OjdFebL3U/hpaTKC59Dhl8x/8ASn5Y/wBNBZ0UruivNl7qfw0borzZe6n8NA1SuU+Jf2UborzZe6n8NLZRygphcYZeDVT+Ggs6KV3RXmy91P4aN0V5svdT+GgaopXdFebL3U/ho3RXmy91P4aAyf5h6WX/ACPTVVtitoVSCso3yQ8VNwM7EHzeQimN0V5svdT+GgaopXdFebL3U/ho3RXmy91P4aAj+8P0UfxS0VHZZw08hAYb3H5yunpl5wF9doPace/RR++Ws2mVLQglRpsTRZQs0V80ceNrPO8KMRmiFAYu5U3EgC4i/SNIovncHSM0guPp0y0uuxuyiPNCyWfN487m82mHOAXB7rvOAAAPoAHJQWIrtFFArbeGPpR7mpqlbbwx9KPc1NUBRRRQeX4D7KhyfxMfRr7hUz8B9lQ5P4mPo19woGKKKKApSx+fN0o/xxU3Slj8+bpR/jioG6KKKApWXj4/4P746apWXj4/4P746BqiiigKVynxL+ymqVynxL+ygaoqqyjbLQryCOHEqwl0IXEWkANy3Y1v03DDovvvxClLLb7aSMdniUZ3Cbr783jhGIeVzHmOnV8A4CGgorPPly2AkDJZIBcBs/HpCC8NddwPwL+fDcNNRTZatocFbBemZDmMkFhKTpjx4gDcLuBeXhoNNRWbbLNtJI2jm1uUh8SzkG/SMAZMRuI9IAuJvPBXVy5bMRG5puvOEmVV0KwAv0HhGn/jTw0GjorO2fLdsJIbJ5QXMQ2NTdcGwrd+I4govvA0k8FxMliyra2mVZLEEjbCMQkDFD5RZjo0i7ALtGkNpN4oLSP7w/RR/FLRRH94foo/ilooIzaUW0PjdVvijuxELf5UvLU26MWuj7a/OpytcwDkFBDujFro+2vzo3Ri10fbX51NgHIKMA5BQIWy3x3x77HxoPnryN+dM7oxa6Ptr86nwDkFcwDkFBDujFro+2vzo3Ri10fbX51NgHIKMA5BQLvlCK477Hwc9fnUNgyhHmY99j4tfxLyD86ewDkFGAcgoId0YtdH21+dG6MWuj7a/OpsA5BRgHIKCHdGLXR9tfnStkt8eOXfY+NH4l1cX51YYByCu4ByCgg3Ri10fbX50boxa6Ptr86mwDkFGAcgoId0YtdH21+dLSW+PPoc7H5j/jXlT86fwDkFdwDkFBBujFro+2vzo3Ri10fbX51NgHIKMA5BQQ7oxa6Ptr86Wyjb4zC4EsfBz1+dP4ByCu4ByCgg3Ri1sfbX50boxa6Ptr86mwDkFGAcgoId0YtdH21+dG6MWtj7a/OpsA5BRgHIKCHdGLXR9tfnRujFrY+2vzqbAOQUYByCgh3Ri1sfbX50boxa6Ptr86mwDkFGAcgoFLNOrTuVZW3uPzSGu0y8lFOAUUH/2Q=="/>
          <p:cNvSpPr>
            <a:spLocks noChangeAspect="1" noChangeArrowheads="1"/>
          </p:cNvSpPr>
          <p:nvPr/>
        </p:nvSpPr>
        <p:spPr bwMode="auto">
          <a:xfrm>
            <a:off x="4572000" y="-971550"/>
            <a:ext cx="2352675" cy="1943100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3188" name="AutoShape 4" descr="data:image/jpg;base64,/9j/4AAQSkZJRgABAQAAAQABAAD/2wCEAAkGBhQSDhQQEA8QEBQUEBkQFA4QFhEQFBAQFBwWFRUQFRQYHycqFxkjGRUTHy8iIycsLCwsFR4xQTIqNSYrLSkBCQoKBQUFDQUFDSkYEhgpKSkpKSkpKSkpKSkpKSkpKSkpKSkpKSkpKSkpKSkpKSkpKSkpKSkpKSkpKSkpKSkpKf/AABEIAMwA9wMBIgACEQEDEQH/xAAbAAACAwEBAQAAAAAAAAAAAAAABAMFBgECB//EAEkQAAIBAQMEDQkIAQMDBQEAAAECAwAEERIFEyFTBhQVIzEzUVJzkZKT0iIyQVRxsbLR0wc0QmFiY3Kis0OBoSR0dRY1NsHCCP/EABQBAQAAAAAAAAAAAAAAAAAAAAD/xAAUEQEAAAAAAAAAAAAAAAAAAAAA/9oADAMBAAIRAxEAPwD7PLaXzhRERrkViWcp5xYXABTzf+a5nJtXF3j/AE67H94foo/ilpqgUzk2ri7x/p0ZybVxd4/06booFM5Nq4u8f6dGcm1cXeP9Om6KBTOTauLvH+nRnJtXF3j/AE6booFM5Nq4u8f6dGcm1cXeP9Om6KBTOTauLvH+nRnJtXF3j/TrL5O+0FpctS5KNjwtCpkefPBlzVyFXC4LyTnI9HovOnRV3YNl1kmWV4bVFKsK4pShLZpdOluTzT1Ggdzk2ri7x/p0ZybVxd4/06rZNnNhWBLQ1tgELsUSYtcjuvnKG4CR/wDR5KnynssslnEZtFqihEq4o84cOcGjzb+HhGj86BvOTauLvH+nRnJtXF3j/TqOfL0CWiOzPMizSrijhN+J106VHpHknqqHZRsijsNjltc2IpGAcK6WdmIVUH5liBQNZybVxd4/06M5Nq4u8f6dYXYr9sAtNshslpsEtia0xCazu7iRZkYMVbzVuDBWuOm8i6qu1f8A9ARLLI0eT55bLHMIXtiuo8psWErGRpvCORew0D0UH07OTauLvH+nRnJtXF3j/TrH7LPtjsNiiVlfbUsiJIlniNzZuRQ6u7Eb2CjAgHSbxo9Ij2WfbNZLEqLcbROwUtZYmF8IYBt8e64EXjRw/kKDaZybVxd4/wBOjOTauLvH+nTQNdoFM5Nq4u8f6dGcm1cXeP8ATpuigUzk2ri7x/p0ZybVxd4/06booFM5Nq4u8f6dGcm1cXeP9Om6KBTOTauLvH+nRnJtXF3j/TpuigWs1oYuyOiqQqterFwQxYelRd5v/NFcj+8P0UfxS0UBH94foo/ilpqlY/vD9FH8UtNUBRRRQFFFFAUUUUBRRRQfJtjv/wA5yh/2Q+Gx1P8AZMdGWf8AyU3/AOqNhViefZPlDKcattUxbWSZlZBLKogVgmIDEAYXvI/Llq+H2evFPa3sVuazJbWMk0LRJNhka/FJC5YYCcR4Qw6hQfNNkf8A8Lyb/wB2nvtNfTPtY2ObcyTMqm6WAbbhN9xDxXkge1cS+0jkrxsk+zGO05Ns+TYp2s8NnZXBwCV3KBlUkkgaS7k6NJPopj/0VO00882UM7JLYmsKnMIiQxu2JmCB/KY/meTkuoEfs0tj5QUZXnW5mgWxwryLHcbTLcDozk4YfxiWtXsgyLBarM0FrQPCbnZWZox5BxAllIIAIv4fRSOwfYtudYlsYmz6ozFHKCMgOS5U3E3+UW06OGvOz/ItoteTZrLZJEiklATHIWVc2SM4pKgnSt44PTQfKNg9lGU9kBtkCFLFk6IQ2cHEd7jVo7OgLabz5chvvI4Dw18/yd/7Ba//ACFl+C019m+znYRlbJ7xwSTZP2mHd5o4gxlkLKbjiMYvN+AcPAt1Ze0fYdlBBNYoJrIbJLaUnz0hkEqiISKgKheG6Q3gX3kDSNNAl9p2S4l2O5JtCwxrK8MKvMqqHdRZxcGYC9rsK3X8F1TfbrkyJLPk2ZIY0kkRs5KiqrS3JBdjYDyrrzw8tbn7QvsymteS7HYbJJENq4VxTlkxIkebB8lW0nQaj+077NrTlGz2KKzvZ1azKwcys6gkrGow4UN+lDw3eig+lrwV2uCu0BRRRQFFFFAUUUUBRRRQKx/eH6KP4paKI/vD9FH8UtFBE8xW0PdG771HpUxi7ypecwqXbjery9cHjoRv+ofoo/ilpLZRY89Y5IlMt7YQDCY8YuZTiukIV1F17KfOUMum+6gd22/q8vXB46NuN6vL1weOvncOxm1XPnLLGpkzUxWJohEjR2aeJogpbyTnGW4C8DH51wJGm2FZJls2ejm0qrJFBKSpaSzIt8eO4+egbNknhzd/poL7bjery9cHjo243q8vXB46ZxjlFUmzHJW2rC9mUm+Ro1xIQGjGcQmUEkaVALcuigstuN6vL1weOjbjery9cHjr53FsZtmcd7TDtgSSvJLEjxYZJpbJCiugZh5CTCdBfcRjVrvSHtj2xy1w2yB5TnUJU2h2dTdaYbKIBaUBN5Ehd1bRffGhu0mg223G9Xl64PHRtxvV5euDx0xjHKK7jHKKBbbbery9cHjo22/q8vXB46zuXtjQmyhFKIUZTZ5xLKSuic7W2uTeb9Gae64XDTzjfl//AEraTHZcVlJzUMEMqE2aQsYbLaonNzOAymWWIAk+jFoABoPpW3G9Xl64PHRtxvV5euDx1NEwwjgGgaL77vyvr3jHKKBbbjery9cHjo22/q8vXB46yez3Y5NaZFay6C9knsssiuEZL83PAwvIv32HBo9ExqqtOxm0GYytZsRlsV7qu12CWyV7TK6B2cFcBmj8pb8QQLwUH0Hbjery9cHjo243q8vXB46zmwTJMsAkzq5lGis6LAWVrpo4gs81ykhcTYRoOnNk+nTrMY5RQLbcb1eXrg8dG239Xl64PHXu1QJIhjkCurC5kPAw5DyivmE2wu07TjWODNynJ1viluaC9rRNm1gQnHdeVQjEOD0kUH0zbjery9cHjo243q8vXB46yWxzIU0dsxPFgRbRaZw+KMqUnWEIoAN+IYXBF1wwfmL9tjHKKBbbjery9cHjo22/q8vXB46YxjlFfPdkWxSeaXKEixK2cezmAERFnwizrI6uXGFQElBQ3Yr7+Sg3W3G9Xl64PHRtxvV5euDx1kth+RZ4bYzzxYFFmkhxhozGzm1TyjNqGJSMxyIVU+aLlvJWtrjHKKBfbjery9cHjo243q8vXB46ZxjlFZjZ3k2SeFBAhkdHMixnNtDI2BkzVoVmXyGDsMS6UNzeigvttt6vL1weOjbjery9cHjr59lLY5aZXtDtZseeezWlAXibMyJaFE0VzPdi2qkIJGgiMjhYg/RbNCkaLGgCqihFUcCqouAH+1AvZZS08l6Mm9x6GwG/TLzWNFSRH/qH6KP4paKCM2ZGtD40Rroo/OUNd5UvLU250Wpj7C/KvMf3h+ij+KWmqBfc6LUx9hflRudFqY+wvypiigrrZk+O+Peo+NH4F5G/KmdzotTH2F+Vebbwx9KPc1NUC+50Wpj7C/Kjc6LUx9hflTFFAq+TorjvMXBzF+VQ2DJ8eZj3qPi1/AvIPyp5+A+yocn8TH0a+4UBudFqY+wvyo3Oi1MfYX5UxRQL7nRamPsL8qVsmT48cu9R8aPwLq4vyqypSx+fN0o/xxUHvc6LUx9hflRudFqY+wvypiigX3Oi1MfYX5UtJk+PPoM1H5j/AIF5Y/yqxpWXj4/4P746D1udFqY+wvyo3Oi1MfYX5UxRQL7nRamPsL8qWyjk+MQvvUfBzF+VWNK5T4l/ZQLSmBbQlnMK45EaRd6GHCmENe911/lDRw03udFqY+wvypa15NdrXDOsiKsSupjKMzPnMN5DhgFuwj8J9NWNAvudFqY+wvyrm50Wpj7C/KmaKCpgssawu+11kIkluREjLNdI9yi+4dZAr3kzMzxCRYFXynQo6IGSSNmjdDdeLwysLwSDdoJFdzLvZpEhlEMjPKFlK5zAxkfysN4vu9tS5GsBhgWIlDhvF8augN5JvON3JY33lixJJJ9NBLudFqY+wvyo3Oi1MfYX5UxRQJWaBVncIqrvUfmgLfpl5KK9x/eH6KP4paKAj+8P0UfxS01Ve9mDWhyS4uiTzXkT8UvoUi+oMmzQzhs29ovRgrJI1rhdSQGF6SEG4ggg3XUFvRSu5y86XvZ/FRucvOl72fxUBbeGPpR7mpqqy2ZPW+PypeNA42fkb9Vcvhz+1s7Jnc0Zs3nbReIwQuI+Vo0kDTw6eQ0FpRSu5y86XvZ/FRucvOl72fxUDD8B9lQ5P4mPo19wrw+TluPlS8Gtn8VVrSwwwQmRrR5YVFWM2yZmbAXICR4j5qseD0UF7RSi5PUi/FN/vLOP+MVd3OXnS97P4qBqlLH583Sj/HFXdzl50vez+KkM1HGJ5JJJFRJLyxln0DNxcjaT/wA0FzRSFmsySIHU2gAi8B3tUTf7o5BH+4qXc5edL3s/ioGqVl4+P+D++Ojc5edL3s/ipaTJ655Bil8x/wDVn5Y/1UFnRVPHaIWtG18VqElzMA+3UVlQqGZZGuVgC68BPnCntzl50vez+KgapXKfEv7KNzl50vez+Klso5PUQucUvBrZ/FQWdFU9qtMEcqxPLMHbDoD2pgucYpHjcG5MTgquIi8i4U9ucvOl72fxUDVcpbc5edL3s/io3OXnS97P4qAyd5h6WX/I9NVTJHFFA8skkqqskhLZ2c6BI40ANeSdAuGkk1PYFimjzkbzFbyumS0oyspKsrKzAqQQRcRQWVFK7nLzpe9n8VG5y86XvZ/FQEf3h+ij+KWio7LAFnkALHe4/OZ39MvOJurtB6Xj5LuHNJdfy3y0lkDJskbTySiNDNKJc1E7zKpwqrNnHVSSSOC64AC7009H94foo/ilpqgKKKKBW28MfSj3NVbZ9jWC37aWWQqyTY43IN8kpgII8m/CFhu0nRhQDQKsrbwx9KPc1NUBRRRQeX4D7KoMsZJe0WKJI0jZwgKSSSSwmBzGUEyNGpJYYjovF950ir9+A+yocn8TH0a+4UEsSkKATiIABY6MRHpr3RRQFUeVcmG0Q2iJSt+fjkAYsqsYhZ5QjFdIDYMJI0gG/TV5Slj8+bpR/jioIcgWB4bOI5CCcbsFVmdY0d2dIVZgCyopCgkDzeADQLGiigKVl4+P+D++OmqVl4+P+D++OghsuTmFpltEhUllWKIC/e4VGI33/iaRmJu9Cx8lWFFFAUrlPiX9lNUrlPiX9lBTZY2OSS22O0KUAXM3MWdWjzUrSSDNgXTB1KqMZGAriGmtHRRQFFFFBVS2ITWWWIqHxPLcpZovLEjlTnFBKEMAcQBIuvr1seyU0EJV2xO8rzOcTP5TknDiYAtcMIvuF919w4Azk7zD0sv+R6aoCiiigVj+8P0UfxS0UR/eH6KP4paKCJoS1oe6R03qPQojN/lS85TUu1G18vVD4KE49+ij+KWsFbYGay3CK1OBugIQ8dqZ1tkkoexS+WMQOAvhkOhb+EGg3u1G18vVD4KNqNr5eqHwUyvBprtBWWyytfHv8vGj0Q8jfopnaja+Xqh8FFt4Y+lHuaqdyBb7ViFpwtYogWUWrDiUzYhEyi4NhePRGcRJ5RQXG1G18vVD4KNqNr5eqHwUpsVJ3PswYOrCzRqyyK6OHVQrBlYAg3g8NWtAo9ka47/LwckPgqGwWVszHv8ALxa+iHkH6KffgPsrPZe+4QECYkTWV7oRM5uWSJnLLECSuAOSCLtHsoLnaja+Xqh8FG1G18vVD4KpMlopynM6QyQ4Y2jYmKZBanLIzTNIVwsFuCppJ8qT8N1+loFdqNr5eqHwUrZLK2Obf5eNHoh1cX6KtKrZLsFpxY7sRvzecx3ZqPzc35V/8dNAxtRtfL1Q+Cjaja+Xqh8FZGzw4hkwiGXPpHCJC0FoSQRqjKwM7ACNVbGWQ6X8kaL1v3FArtRtfL1Q+ClpLK2fTf5fMf0Q8sf6Ks6Vl4+P+D++OgNqNr5eqHwUbUbXy9UPgrP2mKZrZa0s+cUvHZ/LlNpjjuUy55YZSrBWwsnmaAWvuvvqz2IxOuTrMsqlHWzorIS5KkKBccQBvuuvvHDfw8NA7tRtfL1Q+Clso2Vsy+/y8HJD4Ks6VynxL+ygNqNr5eqHwUbUbXy9UPgqpyyP+vg4+42edGZFndFxBMN4UFQ2hrr9Po9NR7BYM3Z3jCAIkgRJhDJZWtCiOO+V45NOLFiUn04KC62o2vl6ofBRtRtfL1Q+CmqKCssFlbAd/l42T0Q6x/0UztRtfL1Q+CoobsxJixXY5r8GPFdjkvw4PKvu4MOnk01jbAJg1gYxO+CyWSNY54J2Ky42jtjlzdmZEQI2JxewW4X3m8NvtRtfL1Q+Cjaja+Xqh8FNUUCNliKzyXuz73HpbALtMvNArte4/vD9FH8UtFAR/eH6KP4paapBse2HwYOKjvxYudLyVLv37X96Bqild+/a/vRv37X96AtvDH0o9zU1VbbM7fHxXGjn8jUxv37X96Bqild+/a/vRv37X96Bh+A+yocn8TH0a+4V4fO3HiuD9dQ2DO5mPiuLXn8goLGild+/a/vRv37X96BqlLH583Sj/HFXd+/a/vS1kzuObiuNHP1cVBZ0Urvv7X96N+/a/vQNUrLx8f8AB/fHRv37X96XlzufTivMfn8sdBZUUrv37X96N+/a/vQNUrlPiX9lG/ftf3pfKOdzL8VwfroLKild+/a/vRv37X96Bqild+/a/vRv37X96Ayf5h6WX/I9NVWZPzuA8VxsnP1j0zvv7X96Bqild+/a/vRv37X96Aj+8P0UfxS0VHZcWfkx4eKjuw38svLXaD2nHv0UfxS1lpbbJJY2C2yQzm3TWWF4jEuJzI6pjUKb1jjUuRw4YzWpj+8P0UfxS1LFZEXzY0XTi8lVGm66/R6btFB7QXAC8m4XXm68/mbq9UUUCtt4Y+lHuas3l/K8iS2tEtAF0FkMaEoubaaaSJ/KuJQMAgLkHBeGuN1x0lt4Y+lHuapGsaEsTGhLLhYlVJZToKk+kXAaPyoK3Ypa2ksitIzMwkljJYqxGblkQJjGh8IULi/Fhv8ATVxXmOMKoVQFAFwVQAABwAAcAr1QeX4D7KosrWxorHZ3WbNb/ZUYnB5cbyRI8flcF6s3Bp0VevwH2UrZbOrwRh0Vxm1NzAML8N19x9poKLI1un3RkhlZ2GCaRhigeNFEqLZcAQ4o74i4IcC9ozdfcTWpqOOBVLFVVSxxMVABZuC83cJqSgKqLbaESK0vLM0CBwWlQgMowQ6F0HSeAAC8k6NN1W9JWeIM0ysoYGUXqwBB3uLhBoMfZMrziWIPaWLA2YLBihfOx2iedJBIUG+OkKLeVNwaFjwE372oEsUYKlY4wUvCkKowBvOC6NF/puqegKVl4+P+D++OmqVl4+P+D++OgzNuykwktpgtrYYrNIWLtC4jtS3FViUjQEW9WvvF7qNLK12oyfNjhje8NijVsQuN5IGnRQbBHexzUd7C5jhW9hw3E3adIHVU0cYUBVAUDQFAAAHIAKD1SuU+Jf2U1SuU+Jf2UFRlu2XW2COO0sj3h5IS0YjFm8oM7qwvLMblW433reNCvXvYjazJHK4naeIzbw8jI7mLAl7EqB5LOJGW/ThYcAIAuJLIjMGaNGYcDMqkj06CeCuwWVEvCIiXm8hFC3nlN1BLRRRQVjzKllleSUwopmLTAgGNQ8l7gkG672Vm0yhIIrLIbW+I2tUzbSQs+1pZykayRBd8coVQ6QU0t5RU4tZYkBjYMAQZZQQdIIzj6CK9pk+JSpWKMFb8JCqCuLhwm7Rf+VAxRRRQKx/eH6KP4paKI/vD9FH8UtFBE0rC0PhjL71HpvUXeVLy1Ltl9Se0leWYCWQsbgIUJOkXC+a81hJbfM1ikksUkkkJnzoAtDPPCiiERxMzksodhJIy33gMF0XtcG92xJqD2ko2xJqD2kpkV2grbZaHvj3k8aPxJyNTG2X1J7SUW3hj6Ue5qymW7Sj2u0Rx202ZkszJK0k8qrnHERQpFjGBUQEl0w8Zwk47g1e2H1J7SUbYk1B7SUnsVtOOyI1x8+RQxklnEgV3USrJISzIwAYXngYXXi41bUCj2h7jvJ4OclQ2C0PmY95PFr+JOQU+/AfZWW2U2pFsESGVoZJFCQyiWSzrHKU46RlIBVBe2Fr7yAACSKDQ7Yk1J7SUbYk1B7SVnNjmUXa3zLI2cLGYkB5f+njilVYFaInCokiZXVgAThY+VebtbQK7Yk1B7SUtZLQ+ObeTxo/Emriqzqkynao44LU85cRhxizbPG58iEBVZSCCSQOEDTpIF9BY7ZfUntJRtiTUHtJWXyVAZGsaraJZGVTPLLFaJ5IhCjMI7OSGwynGwTEwJZYHv03VsqBXbEmoPaSl5LQ+fTeT5j/iTljqypWXj4/4P746A2y+pPaSjbEmpPaSsTlnKKma0Zi0sgWSOKVJJ5rjJn487IVxXwQKt8ZZbgc4dFygnVbFJmawws5ctg0s5LFriQGDHS6kAFWOkrcTpJoHNsSag9pKXyjaHzL7yeDnJVlSuU+Jf2UBth9Se0lG2H1J7SVQ7IrSu3YIY7QYJyMeJpXWPNnGqpmS2GV3fRdcSApN4IW/mwSWRklxPnIwyKkmee1q8gRc80czgYlLXcGgHFwG8AL/AGxJqD2ko2xJqD2kpqigrMn2h8B3k8bJ+JNY9M7ZfUntJS+NBZpDK5RMcuNwzR4Vzj3tjUgr7QRdWIsVukvjBnlJEsYsuGWZ0nvtjraMBJ3+MQZsXvfcl5Fw00G/2xJqD2ko2xJqD2kpqigRssjGeTEmDeo9F4N+mXkrte4/vD9FH8UtFAR/eH6KP4paapB7SFtD3hzfFH5qSP8Ail9Kg1LuivNl7qfw0DVFK7orzZe6n8NG6K82Xup/DQFt4Y+lHuamqrLZlBb4/Jl40Hip+Rv00zuivNl7qfw0DVFK7orzZe6n8NG6K82Xup/DQMPwH2VDk/iY+jX3CvD5RW4+TLwaqfw1DYMoLmY/Jl4tf9KfkH6aCxopXdFebL3U/ho3RXmy91P4aBqlLH583Sj/ABxV3dFebL3U/hpWyZQXHL5MvGj/AEp9XF+mgtKKV3RXmy91P4aN0V5svdT+GgapWXj4/wCD++OjdFebL3U/hpaTKC59Dhl8x/8ASn5Y/wBNBZ0UruivNl7qfw0borzZe6n8NA1SuU+Jf2UborzZe6n8NLZRygphcYZeDVT+Ggs6KV3RXmy91P4aN0V5svdT+GgaopXdFebL3U/ho3RXmy91P4aAyf5h6WX/ACPTVVtitoVSCso3yQ8VNwM7EHzeQimN0V5svdT+GgaopXdFebL3U/ho3RXmy91P4aAj+8P0UfxS0VHZZw08hAYb3H5yunpl5wF9doPace/RR++Ws2mVLQglRpsTRZQs0V80ceNrPO8KMRmiFAYu5U3EgC4i/SNIovncHSM0guPp0y0uuxuyiPNCyWfN487m82mHOAXB7rvOAAAPoAHJQWIrtFFArbeGPpR7mpqlbbwx9KPc1NUBRRRQeX4D7KhyfxMfRr7hUz8B9lQ5P4mPo19woGKKKKApSx+fN0o/xxU3Slj8+bpR/jioG6KKKApWXj4/4P746apWXj4/4P746BqiiigKVynxL+ymqVynxL+ygaoqqyjbLQryCOHEqwl0IXEWkANy3Y1v03DDovvvxClLLb7aSMdniUZ3Cbr783jhGIeVzHmOnV8A4CGgorPPly2AkDJZIBcBs/HpCC8NddwPwL+fDcNNRTZatocFbBemZDmMkFhKTpjx4gDcLuBeXhoNNRWbbLNtJI2jm1uUh8SzkG/SMAZMRuI9IAuJvPBXVy5bMRG5puvOEmVV0KwAv0HhGn/jTw0GjorO2fLdsJIbJ5QXMQ2NTdcGwrd+I4govvA0k8FxMliyra2mVZLEEjbCMQkDFD5RZjo0i7ALtGkNpN4oLSP7w/RR/FLRRH94foo/ilooIzaUW0PjdVvijuxELf5UvLU26MWuj7a/OpytcwDkFBDujFro+2vzo3Ri10fbX51NgHIKMA5BQIWy3x3x77HxoPnryN+dM7oxa6Ptr86nwDkFcwDkFBDujFro+2vzo3Ri10fbX51NgHIKMA5BQLvlCK477Hwc9fnUNgyhHmY99j4tfxLyD86ewDkFGAcgoId0YtdH21+dG6MWuj7a/OpsA5BRgHIKCHdGLXR9tfnStkt8eOXfY+NH4l1cX51YYByCu4ByCgg3Ri10fbX50boxa6Ptr86mwDkFGAcgoId0YtdH21+dLSW+PPoc7H5j/jXlT86fwDkFdwDkFBBujFro+2vzo3Ri10fbX51NgHIKMA5BQQ7oxa6Ptr86Wyjb4zC4EsfBz1+dP4ByCu4ByCgg3Ri1sfbX50boxa6Ptr86mwDkFGAcgoId0YtdH21+dG6MWtj7a/OpsA5BRgHIKCHdGLXR9tfnRujFrY+2vzqbAOQUYByCgh3Ri1sfbX50boxa6Ptr86mwDkFGAcgoFLNOrTuVZW3uPzSGu0y8lFOAUUH/2Q=="/>
          <p:cNvSpPr>
            <a:spLocks noChangeAspect="1" noChangeArrowheads="1"/>
          </p:cNvSpPr>
          <p:nvPr/>
        </p:nvSpPr>
        <p:spPr bwMode="auto">
          <a:xfrm>
            <a:off x="79375" y="-727075"/>
            <a:ext cx="1828800" cy="1504950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Rectangle 2"/>
          <p:cNvSpPr txBox="1">
            <a:spLocks noChangeArrowheads="1"/>
          </p:cNvSpPr>
          <p:nvPr/>
        </p:nvSpPr>
        <p:spPr bwMode="auto">
          <a:xfrm>
            <a:off x="2667000" y="6721475"/>
            <a:ext cx="6858000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marL="0" lvl="1" defTabSz="1019175" eaLnBrk="0" hangingPunct="0">
              <a:lnSpc>
                <a:spcPts val="2788"/>
              </a:lnSpc>
            </a:pPr>
            <a:r>
              <a:rPr lang="en-US" sz="2300" b="1" kern="0" dirty="0" smtClean="0">
                <a:ea typeface="LF_Kai" pitchFamily="2" charset="-122"/>
              </a:rPr>
              <a:t>What are the Top 5 things </a:t>
            </a:r>
            <a:r>
              <a:rPr lang="en-US" sz="2300" b="1" kern="0" dirty="0" err="1" smtClean="0">
                <a:ea typeface="LF_Kai" pitchFamily="2" charset="-122"/>
              </a:rPr>
              <a:t>OP’ers</a:t>
            </a:r>
            <a:r>
              <a:rPr lang="en-US" sz="2300" b="1" kern="0" dirty="0" smtClean="0">
                <a:ea typeface="LF_Kai" pitchFamily="2" charset="-122"/>
              </a:rPr>
              <a:t> should know?</a:t>
            </a:r>
            <a:endParaRPr kumimoji="0" lang="en-US" sz="2300" b="1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rebuchet MS" pitchFamily="34" charset="0"/>
              <a:ea typeface="LF_Kai" pitchFamily="2" charset="-122"/>
              <a:cs typeface="LF_Kai"/>
            </a:endParaRPr>
          </a:p>
        </p:txBody>
      </p:sp>
    </p:spTree>
    <p:custDataLst>
      <p:tags r:id="rId1"/>
    </p:custDataLst>
  </p:cSld>
  <p:clrMapOvr>
    <a:masterClrMapping/>
  </p:clrMapOvr>
  <p:transition xmlns:p14="http://schemas.microsoft.com/office/powerpoint/2010/main">
    <p:cut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Rectangle 2"/>
          <p:cNvSpPr>
            <a:spLocks noGrp="1" noChangeArrowheads="1"/>
          </p:cNvSpPr>
          <p:nvPr>
            <p:ph type="title"/>
          </p:nvPr>
        </p:nvSpPr>
        <p:spPr>
          <a:xfrm>
            <a:off x="762000" y="838200"/>
            <a:ext cx="7696200" cy="288925"/>
          </a:xfrm>
        </p:spPr>
        <p:txBody>
          <a:bodyPr/>
          <a:lstStyle/>
          <a:p>
            <a:pPr lvl="1"/>
            <a:r>
              <a:rPr lang="en-US" sz="2300" dirty="0" smtClean="0"/>
              <a:t>Verbal case studies:  3 parts </a:t>
            </a:r>
          </a:p>
        </p:txBody>
      </p:sp>
      <p:sp>
        <p:nvSpPr>
          <p:cNvPr id="56" name="TextBox 55"/>
          <p:cNvSpPr txBox="1"/>
          <p:nvPr/>
        </p:nvSpPr>
        <p:spPr>
          <a:xfrm rot="233865">
            <a:off x="5286126" y="655755"/>
            <a:ext cx="808076" cy="307777"/>
          </a:xfrm>
          <a:prstGeom prst="rect">
            <a:avLst/>
          </a:prstGeom>
          <a:noFill/>
          <a:ln w="5080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Values</a:t>
            </a:r>
          </a:p>
        </p:txBody>
      </p:sp>
      <p:sp>
        <p:nvSpPr>
          <p:cNvPr id="93186" name="AutoShape 2" descr="data:image/jpg;base64,/9j/4AAQSkZJRgABAQAAAQABAAD/2wCEAAkGBhQSDhQQEA8QEBQUEBkQFA4QFhEQFBAQFBwWFRUQFRQYHycqFxkjGRUTHy8iIycsLCwsFR4xQTIqNSYrLSkBCQoKBQUFDQUFDSkYEhgpKSkpKSkpKSkpKSkpKSkpKSkpKSkpKSkpKSkpKSkpKSkpKSkpKSkpKSkpKSkpKSkpKf/AABEIAMwA9wMBIgACEQEDEQH/xAAbAAACAwEBAQAAAAAAAAAAAAAABAMFBgECB//EAEkQAAIBAQMEDQkIAQMDBQEAAAECAwAEERIFEyFTBhQVIzEzUVJzkZKT0iIyQVRxsbLR0wc0QmFiY3Kis0OBoSR0dRY1NsHCCP/EABQBAQAAAAAAAAAAAAAAAAAAAAD/xAAUEQEAAAAAAAAAAAAAAAAAAAAA/9oADAMBAAIRAxEAPwD7PLaXzhRERrkViWcp5xYXABTzf+a5nJtXF3j/AE67H94foo/ilpqgUzk2ri7x/p0ZybVxd4/06booFM5Nq4u8f6dGcm1cXeP9Om6KBTOTauLvH+nRnJtXF3j/AE6booFM5Nq4u8f6dGcm1cXeP9Om6KBTOTauLvH+nRnJtXF3j/TrL5O+0FpctS5KNjwtCpkefPBlzVyFXC4LyTnI9HovOnRV3YNl1kmWV4bVFKsK4pShLZpdOluTzT1Ggdzk2ri7x/p0ZybVxd4/06rZNnNhWBLQ1tgELsUSYtcjuvnKG4CR/wDR5KnynssslnEZtFqihEq4o84cOcGjzb+HhGj86BvOTauLvH+nRnJtXF3j/TqOfL0CWiOzPMizSrijhN+J106VHpHknqqHZRsijsNjltc2IpGAcK6WdmIVUH5liBQNZybVxd4/06M5Nq4u8f6dYXYr9sAtNshslpsEtia0xCazu7iRZkYMVbzVuDBWuOm8i6qu1f8A9ARLLI0eT55bLHMIXtiuo8psWErGRpvCORew0D0UH07OTauLvH+nRnJtXF3j/TrH7LPtjsNiiVlfbUsiJIlniNzZuRQ6u7Eb2CjAgHSbxo9Ij2WfbNZLEqLcbROwUtZYmF8IYBt8e64EXjRw/kKDaZybVxd4/wBOjOTauLvH+nTQNdoFM5Nq4u8f6dGcm1cXeP8ATpuigUzk2ri7x/p0ZybVxd4/06booFM5Nq4u8f6dGcm1cXeP9Om6KBTOTauLvH+nRnJtXF3j/TpuigWs1oYuyOiqQqterFwQxYelRd5v/NFcj+8P0UfxS0UBH94foo/ilpqlY/vD9FH8UtNUBRRRQFFFFAUUUUBRRRQfJtjv/wA5yh/2Q+Gx1P8AZMdGWf8AyU3/AOqNhViefZPlDKcattUxbWSZlZBLKogVgmIDEAYXvI/Llq+H2evFPa3sVuazJbWMk0LRJNhka/FJC5YYCcR4Qw6hQfNNkf8A8Lyb/wB2nvtNfTPtY2ObcyTMqm6WAbbhN9xDxXkge1cS+0jkrxsk+zGO05Ns+TYp2s8NnZXBwCV3KBlUkkgaS7k6NJPopj/0VO00882UM7JLYmsKnMIiQxu2JmCB/KY/meTkuoEfs0tj5QUZXnW5mgWxwryLHcbTLcDozk4YfxiWtXsgyLBarM0FrQPCbnZWZox5BxAllIIAIv4fRSOwfYtudYlsYmz6ozFHKCMgOS5U3E3+UW06OGvOz/ItoteTZrLZJEiklATHIWVc2SM4pKgnSt44PTQfKNg9lGU9kBtkCFLFk6IQ2cHEd7jVo7OgLabz5chvvI4Dw18/yd/7Ba//ACFl+C019m+znYRlbJ7xwSTZP2mHd5o4gxlkLKbjiMYvN+AcPAt1Ze0fYdlBBNYoJrIbJLaUnz0hkEqiISKgKheG6Q3gX3kDSNNAl9p2S4l2O5JtCwxrK8MKvMqqHdRZxcGYC9rsK3X8F1TfbrkyJLPk2ZIY0kkRs5KiqrS3JBdjYDyrrzw8tbn7QvsymteS7HYbJJENq4VxTlkxIkebB8lW0nQaj+077NrTlGz2KKzvZ1azKwcys6gkrGow4UN+lDw3eig+lrwV2uCu0BRRRQFFFFAUUUUBRRRQKx/eH6KP4paKI/vD9FH8UtFBE8xW0PdG771HpUxi7ypecwqXbjery9cHjoRv+ofoo/ilpLZRY89Y5IlMt7YQDCY8YuZTiukIV1F17KfOUMum+6gd22/q8vXB46NuN6vL1weOvncOxm1XPnLLGpkzUxWJohEjR2aeJogpbyTnGW4C8DH51wJGm2FZJls2ejm0qrJFBKSpaSzIt8eO4+egbNknhzd/poL7bjery9cHjo243q8vXB46ZxjlFUmzHJW2rC9mUm+Ro1xIQGjGcQmUEkaVALcuigstuN6vL1weOjbjery9cHjr53FsZtmcd7TDtgSSvJLEjxYZJpbJCiugZh5CTCdBfcRjVrvSHtj2xy1w2yB5TnUJU2h2dTdaYbKIBaUBN5Ehd1bRffGhu0mg223G9Xl64PHRtxvV5euDx0xjHKK7jHKKBbbbery9cHjo22/q8vXB46zuXtjQmyhFKIUZTZ5xLKSuic7W2uTeb9Gae64XDTzjfl//AEraTHZcVlJzUMEMqE2aQsYbLaonNzOAymWWIAk+jFoABoPpW3G9Xl64PHRtxvV5euDx1NEwwjgGgaL77vyvr3jHKKBbbjery9cHjo22/q8vXB46yez3Y5NaZFay6C9knsssiuEZL83PAwvIv32HBo9ExqqtOxm0GYytZsRlsV7qu12CWyV7TK6B2cFcBmj8pb8QQLwUH0Hbjery9cHjo243q8vXB46zmwTJMsAkzq5lGis6LAWVrpo4gs81ykhcTYRoOnNk+nTrMY5RQLbcb1eXrg8dG239Xl64PHXu1QJIhjkCurC5kPAw5DyivmE2wu07TjWODNynJ1viluaC9rRNm1gQnHdeVQjEOD0kUH0zbjery9cHjo243q8vXB46yWxzIU0dsxPFgRbRaZw+KMqUnWEIoAN+IYXBF1wwfmL9tjHKKBbbjery9cHjo22/q8vXB46YxjlFfPdkWxSeaXKEixK2cezmAERFnwizrI6uXGFQElBQ3Yr7+Sg3W3G9Xl64PHRtxvV5euDx1kth+RZ4bYzzxYFFmkhxhozGzm1TyjNqGJSMxyIVU+aLlvJWtrjHKKBfbjery9cHjo243q8vXB46ZxjlFZjZ3k2SeFBAhkdHMixnNtDI2BkzVoVmXyGDsMS6UNzeigvttt6vL1weOjbjery9cHjr59lLY5aZXtDtZseeezWlAXibMyJaFE0VzPdi2qkIJGgiMjhYg/RbNCkaLGgCqihFUcCqouAH+1AvZZS08l6Mm9x6GwG/TLzWNFSRH/qH6KP4paKCM2ZGtD40Rroo/OUNd5UvLU250Wpj7C/KvMf3h+ij+KWmqBfc6LUx9hflRudFqY+wvypiigrrZk+O+Peo+NH4F5G/KmdzotTH2F+Vebbwx9KPc1NUC+50Wpj7C/Kjc6LUx9hflTFFAq+TorjvMXBzF+VQ2DJ8eZj3qPi1/AvIPyp5+A+yocn8TH0a+4UBudFqY+wvyo3Oi1MfYX5UxRQL7nRamPsL8qVsmT48cu9R8aPwLq4vyqypSx+fN0o/xxUHvc6LUx9hflRudFqY+wvypiigX3Oi1MfYX5UtJk+PPoM1H5j/AIF5Y/yqxpWXj4/4P746D1udFqY+wvyo3Oi1MfYX5UxRQL7nRamPsL8qWyjk+MQvvUfBzF+VWNK5T4l/ZQLSmBbQlnMK45EaRd6GHCmENe911/lDRw03udFqY+wvypa15NdrXDOsiKsSupjKMzPnMN5DhgFuwj8J9NWNAvudFqY+wvyrm50Wpj7C/KmaKCpgssawu+11kIkluREjLNdI9yi+4dZAr3kzMzxCRYFXynQo6IGSSNmjdDdeLwysLwSDdoJFdzLvZpEhlEMjPKFlK5zAxkfysN4vu9tS5GsBhgWIlDhvF8augN5JvON3JY33lixJJJ9NBLudFqY+wvyo3Oi1MfYX5UxRQJWaBVncIqrvUfmgLfpl5KK9x/eH6KP4paKAj+8P0UfxS01Ve9mDWhyS4uiTzXkT8UvoUi+oMmzQzhs29ovRgrJI1rhdSQGF6SEG4ggg3XUFvRSu5y86XvZ/FRucvOl72fxUBbeGPpR7mpqqy2ZPW+PypeNA42fkb9Vcvhz+1s7Jnc0Zs3nbReIwQuI+Vo0kDTw6eQ0FpRSu5y86XvZ/FRucvOl72fxUDD8B9lQ5P4mPo19wrw+TluPlS8Gtn8VVrSwwwQmRrR5YVFWM2yZmbAXICR4j5qseD0UF7RSi5PUi/FN/vLOP+MVd3OXnS97P4qBqlLH583Sj/HFXdzl50vez+KkM1HGJ5JJJFRJLyxln0DNxcjaT/wA0FzRSFmsySIHU2gAi8B3tUTf7o5BH+4qXc5edL3s/ioGqVl4+P+D++Ojc5edL3s/ipaTJ655Bil8x/wDVn5Y/1UFnRVPHaIWtG18VqElzMA+3UVlQqGZZGuVgC68BPnCntzl50vez+KgapXKfEv7KNzl50vez+Klso5PUQucUvBrZ/FQWdFU9qtMEcqxPLMHbDoD2pgucYpHjcG5MTgquIi8i4U9ucvOl72fxUDVcpbc5edL3s/io3OXnS97P4qAyd5h6WX/I9NVTJHFFA8skkqqskhLZ2c6BI40ANeSdAuGkk1PYFimjzkbzFbyumS0oyspKsrKzAqQQRcRQWVFK7nLzpe9n8VG5y86XvZ/FQEf3h+ij+KWio7LAFnkALHe4/OZ39MvOJurtB6Xj5LuHNJdfy3y0lkDJskbTySiNDNKJc1E7zKpwqrNnHVSSSOC64AC7009H94foo/ilpqgKKKKBW28MfSj3NVbZ9jWC37aWWQqyTY43IN8kpgII8m/CFhu0nRhQDQKsrbwx9KPc1NUBRRRQeX4D7KoMsZJe0WKJI0jZwgKSSSSwmBzGUEyNGpJYYjovF950ir9+A+yocn8TH0a+4UEsSkKATiIABY6MRHpr3RRQFUeVcmG0Q2iJSt+fjkAYsqsYhZ5QjFdIDYMJI0gG/TV5Slj8+bpR/jioIcgWB4bOI5CCcbsFVmdY0d2dIVZgCyopCgkDzeADQLGiigKVl4+P+D++OmqVl4+P+D++OghsuTmFpltEhUllWKIC/e4VGI33/iaRmJu9Cx8lWFFFAUrlPiX9lNUrlPiX9lBTZY2OSS22O0KUAXM3MWdWjzUrSSDNgXTB1KqMZGAriGmtHRRQFFFFBVS2ITWWWIqHxPLcpZovLEjlTnFBKEMAcQBIuvr1seyU0EJV2xO8rzOcTP5TknDiYAtcMIvuF919w4Azk7zD0sv+R6aoCiiigVj+8P0UfxS0UR/eH6KP4paKCJoS1oe6R03qPQojN/lS85TUu1G18vVD4KE49+ij+KWsFbYGay3CK1OBugIQ8dqZ1tkkoexS+WMQOAvhkOhb+EGg3u1G18vVD4KNqNr5eqHwUyvBprtBWWyytfHv8vGj0Q8jfopnaja+Xqh8FFt4Y+lHuaqdyBb7ViFpwtYogWUWrDiUzYhEyi4NhePRGcRJ5RQXG1G18vVD4KNqNr5eqHwUpsVJ3PswYOrCzRqyyK6OHVQrBlYAg3g8NWtAo9ka47/LwckPgqGwWVszHv8ALxa+iHkH6KffgPsrPZe+4QECYkTWV7oRM5uWSJnLLECSuAOSCLtHsoLnaja+Xqh8FG1G18vVD4KpMlopynM6QyQ4Y2jYmKZBanLIzTNIVwsFuCppJ8qT8N1+loFdqNr5eqHwUrZLK2Obf5eNHoh1cX6KtKrZLsFpxY7sRvzecx3ZqPzc35V/8dNAxtRtfL1Q+Cjaja+Xqh8FZGzw4hkwiGXPpHCJC0FoSQRqjKwM7ACNVbGWQ6X8kaL1v3FArtRtfL1Q+ClpLK2fTf5fMf0Q8sf6Ks6Vl4+P+D++OgNqNr5eqHwUbUbXy9UPgrP2mKZrZa0s+cUvHZ/LlNpjjuUy55YZSrBWwsnmaAWvuvvqz2IxOuTrMsqlHWzorIS5KkKBccQBvuuvvHDfw8NA7tRtfL1Q+Clso2Vsy+/y8HJD4Ks6VynxL+ygNqNr5eqHwUbUbXy9UPgqpyyP+vg4+42edGZFndFxBMN4UFQ2hrr9Po9NR7BYM3Z3jCAIkgRJhDJZWtCiOO+V45NOLFiUn04KC62o2vl6ofBRtRtfL1Q+CmqKCssFlbAd/l42T0Q6x/0UztRtfL1Q+CoobsxJixXY5r8GPFdjkvw4PKvu4MOnk01jbAJg1gYxO+CyWSNY54J2Ky42jtjlzdmZEQI2JxewW4X3m8NvtRtfL1Q+Cjaja+Xqh8FNUUCNliKzyXuz73HpbALtMvNArte4/vD9FH8UtFAR/eH6KP4paapBse2HwYOKjvxYudLyVLv37X96Bqild+/a/vRv37X96AtvDH0o9zU1VbbM7fHxXGjn8jUxv37X96Bqild+/a/vRv37X96Bh+A+yocn8TH0a+4V4fO3HiuD9dQ2DO5mPiuLXn8goLGild+/a/vRv37X96BqlLH583Sj/HFXd+/a/vS1kzuObiuNHP1cVBZ0Urvv7X96N+/a/vQNUrLx8f8AB/fHRv37X96XlzufTivMfn8sdBZUUrv37X96N+/a/vQNUrlPiX9lG/ftf3pfKOdzL8VwfroLKild+/a/vRv37X96Bqild+/a/vRv37X96Ayf5h6WX/I9NVWZPzuA8VxsnP1j0zvv7X96Bqild+/a/vRv37X96Aj+8P0UfxS0VHZcWfkx4eKjuw38svLXaD2nHv0UfxS1lpbbJJY2C2yQzm3TWWF4jEuJzI6pjUKb1jjUuRw4YzWpj+8P0UfxS1LFZEXzY0XTi8lVGm66/R6btFB7QXAC8m4XXm68/mbq9UUUCtt4Y+lHuas3l/K8iS2tEtAF0FkMaEoubaaaSJ/KuJQMAgLkHBeGuN1x0lt4Y+lHuapGsaEsTGhLLhYlVJZToKk+kXAaPyoK3Ypa2ksitIzMwkljJYqxGblkQJjGh8IULi/Fhv8ATVxXmOMKoVQFAFwVQAABwAAcAr1QeX4D7KosrWxorHZ3WbNb/ZUYnB5cbyRI8flcF6s3Bp0VevwH2UrZbOrwRh0Vxm1NzAML8N19x9poKLI1un3RkhlZ2GCaRhigeNFEqLZcAQ4o74i4IcC9ozdfcTWpqOOBVLFVVSxxMVABZuC83cJqSgKqLbaESK0vLM0CBwWlQgMowQ6F0HSeAAC8k6NN1W9JWeIM0ysoYGUXqwBB3uLhBoMfZMrziWIPaWLA2YLBihfOx2iedJBIUG+OkKLeVNwaFjwE372oEsUYKlY4wUvCkKowBvOC6NF/puqegKVl4+P+D++OmqVl4+P+D++OgzNuykwktpgtrYYrNIWLtC4jtS3FViUjQEW9WvvF7qNLK12oyfNjhje8NijVsQuN5IGnRQbBHexzUd7C5jhW9hw3E3adIHVU0cYUBVAUDQFAAAHIAKD1SuU+Jf2U1SuU+Jf2UFRlu2XW2COO0sj3h5IS0YjFm8oM7qwvLMblW433reNCvXvYjazJHK4naeIzbw8jI7mLAl7EqB5LOJGW/ThYcAIAuJLIjMGaNGYcDMqkj06CeCuwWVEvCIiXm8hFC3nlN1BLRRRQVjzKllleSUwopmLTAgGNQ8l7gkG672Vm0yhIIrLIbW+I2tUzbSQs+1pZykayRBd8coVQ6QU0t5RU4tZYkBjYMAQZZQQdIIzj6CK9pk+JSpWKMFb8JCqCuLhwm7Rf+VAxRRRQKx/eH6KP4paKI/vD9FH8UtFBE0rC0PhjL71HpvUXeVLy1Ltl9Se0leWYCWQsbgIUJOkXC+a81hJbfM1ikksUkkkJnzoAtDPPCiiERxMzksodhJIy33gMF0XtcG92xJqD2ko2xJqD2kpkV2grbZaHvj3k8aPxJyNTG2X1J7SUW3hj6Ue5qymW7Sj2u0Rx202ZkszJK0k8qrnHERQpFjGBUQEl0w8Zwk47g1e2H1J7SUbYk1B7SUnsVtOOyI1x8+RQxklnEgV3USrJISzIwAYXngYXXi41bUCj2h7jvJ4OclQ2C0PmY95PFr+JOQU+/AfZWW2U2pFsESGVoZJFCQyiWSzrHKU46RlIBVBe2Fr7yAACSKDQ7Yk1J7SUbYk1B7SVnNjmUXa3zLI2cLGYkB5f+njilVYFaInCokiZXVgAThY+VebtbQK7Yk1B7SUtZLQ+ObeTxo/Emriqzqkynao44LU85cRhxizbPG58iEBVZSCCSQOEDTpIF9BY7ZfUntJRtiTUHtJWXyVAZGsaraJZGVTPLLFaJ5IhCjMI7OSGwynGwTEwJZYHv03VsqBXbEmoPaSl5LQ+fTeT5j/iTljqypWXj4/4P746A2y+pPaSjbEmpPaSsTlnKKma0Zi0sgWSOKVJJ5rjJn487IVxXwQKt8ZZbgc4dFygnVbFJmawws5ctg0s5LFriQGDHS6kAFWOkrcTpJoHNsSag9pKXyjaHzL7yeDnJVlSuU+Jf2UBth9Se0lG2H1J7SVQ7IrSu3YIY7QYJyMeJpXWPNnGqpmS2GV3fRdcSApN4IW/mwSWRklxPnIwyKkmee1q8gRc80czgYlLXcGgHFwG8AL/AGxJqD2ko2xJqD2kpqigrMn2h8B3k8bJ+JNY9M7ZfUntJS+NBZpDK5RMcuNwzR4Vzj3tjUgr7QRdWIsVukvjBnlJEsYsuGWZ0nvtjraMBJ3+MQZsXvfcl5Fw00G/2xJqD2ko2xJqD2kpqigRssjGeTEmDeo9F4N+mXkrte4/vD9FH8UtFAR/eH6KP4paapB7SFtD3hzfFH5qSP8Ail9Kg1LuivNl7qfw0DVFK7orzZe6n8NG6K82Xup/DQFt4Y+lHuamqrLZlBb4/Jl40Hip+Rv00zuivNl7qfw0DVFK7orzZe6n8NG6K82Xup/DQMPwH2VDk/iY+jX3CvD5RW4+TLwaqfw1DYMoLmY/Jl4tf9KfkH6aCxopXdFebL3U/ho3RXmy91P4aBqlLH583Sj/ABxV3dFebL3U/hpWyZQXHL5MvGj/AEp9XF+mgtKKV3RXmy91P4aN0V5svdT+GgapWXj4/wCD++OjdFebL3U/hpaTKC59Dhl8x/8ASn5Y/wBNBZ0UruivNl7qfw0borzZe6n8NA1SuU+Jf2UborzZe6n8NLZRygphcYZeDVT+Ggs6KV3RXmy91P4aN0V5svdT+GgaopXdFebL3U/ho3RXmy91P4aAyf5h6WX/ACPTVVtitoVSCso3yQ8VNwM7EHzeQimN0V5svdT+GgaopXdFebL3U/ho3RXmy91P4aAj+8P0UfxS0VHZZw08hAYb3H5yunpl5wF9doPace/RR++Ws2mVLQglRpsTRZQs0V80ceNrPO8KMRmiFAYu5U3EgC4i/SNIovncHSM0guPp0y0uuxuyiPNCyWfN487m82mHOAXB7rvOAAAPoAHJQWIrtFFArbeGPpR7mpqlbbwx9KPc1NUBRRRQeX4D7KhyfxMfRr7hUz8B9lQ5P4mPo19woGKKKKApSx+fN0o/xxU3Slj8+bpR/jioG6KKKApWXj4/4P746apWXj4/4P746BqiiigKVynxL+ymqVynxL+ygaoqqyjbLQryCOHEqwl0IXEWkANy3Y1v03DDovvvxClLLb7aSMdniUZ3Cbr783jhGIeVzHmOnV8A4CGgorPPly2AkDJZIBcBs/HpCC8NddwPwL+fDcNNRTZatocFbBemZDmMkFhKTpjx4gDcLuBeXhoNNRWbbLNtJI2jm1uUh8SzkG/SMAZMRuI9IAuJvPBXVy5bMRG5puvOEmVV0KwAv0HhGn/jTw0GjorO2fLdsJIbJ5QXMQ2NTdcGwrd+I4govvA0k8FxMliyra2mVZLEEjbCMQkDFD5RZjo0i7ALtGkNpN4oLSP7w/RR/FLRRH94foo/ilooIzaUW0PjdVvijuxELf5UvLU26MWuj7a/OpytcwDkFBDujFro+2vzo3Ri10fbX51NgHIKMA5BQIWy3x3x77HxoPnryN+dM7oxa6Ptr86nwDkFcwDkFBDujFro+2vzo3Ri10fbX51NgHIKMA5BQLvlCK477Hwc9fnUNgyhHmY99j4tfxLyD86ewDkFGAcgoId0YtdH21+dG6MWuj7a/OpsA5BRgHIKCHdGLXR9tfnStkt8eOXfY+NH4l1cX51YYByCu4ByCgg3Ri10fbX50boxa6Ptr86mwDkFGAcgoId0YtdH21+dLSW+PPoc7H5j/jXlT86fwDkFdwDkFBBujFro+2vzo3Ri10fbX51NgHIKMA5BQQ7oxa6Ptr86Wyjb4zC4EsfBz1+dP4ByCu4ByCgg3Ri1sfbX50boxa6Ptr86mwDkFGAcgoId0YtdH21+dG6MWtj7a/OpsA5BRgHIKCHdGLXR9tfnRujFrY+2vzqbAOQUYByCgh3Ri1sfbX50boxa6Ptr86mwDkFGAcgoFLNOrTuVZW3uPzSGu0y8lFOAUUH/2Q=="/>
          <p:cNvSpPr>
            <a:spLocks noChangeAspect="1" noChangeArrowheads="1"/>
          </p:cNvSpPr>
          <p:nvPr/>
        </p:nvSpPr>
        <p:spPr bwMode="auto">
          <a:xfrm>
            <a:off x="4572000" y="-971550"/>
            <a:ext cx="2352675" cy="1943100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3188" name="AutoShape 4" descr="data:image/jpg;base64,/9j/4AAQSkZJRgABAQAAAQABAAD/2wCEAAkGBhQSDhQQEA8QEBQUEBkQFA4QFhEQFBAQFBwWFRUQFRQYHycqFxkjGRUTHy8iIycsLCwsFR4xQTIqNSYrLSkBCQoKBQUFDQUFDSkYEhgpKSkpKSkpKSkpKSkpKSkpKSkpKSkpKSkpKSkpKSkpKSkpKSkpKSkpKSkpKSkpKSkpKf/AABEIAMwA9wMBIgACEQEDEQH/xAAbAAACAwEBAQAAAAAAAAAAAAAABAMFBgECB//EAEkQAAIBAQMEDQkIAQMDBQEAAAECAwAEERIFEyFTBhQVIzEzUVJzkZKT0iIyQVRxsbLR0wc0QmFiY3Kis0OBoSR0dRY1NsHCCP/EABQBAQAAAAAAAAAAAAAAAAAAAAD/xAAUEQEAAAAAAAAAAAAAAAAAAAAA/9oADAMBAAIRAxEAPwD7PLaXzhRERrkViWcp5xYXABTzf+a5nJtXF3j/AE67H94foo/ilpqgUzk2ri7x/p0ZybVxd4/06booFM5Nq4u8f6dGcm1cXeP9Om6KBTOTauLvH+nRnJtXF3j/AE6booFM5Nq4u8f6dGcm1cXeP9Om6KBTOTauLvH+nRnJtXF3j/TrL5O+0FpctS5KNjwtCpkefPBlzVyFXC4LyTnI9HovOnRV3YNl1kmWV4bVFKsK4pShLZpdOluTzT1Ggdzk2ri7x/p0ZybVxd4/06rZNnNhWBLQ1tgELsUSYtcjuvnKG4CR/wDR5KnynssslnEZtFqihEq4o84cOcGjzb+HhGj86BvOTauLvH+nRnJtXF3j/TqOfL0CWiOzPMizSrijhN+J106VHpHknqqHZRsijsNjltc2IpGAcK6WdmIVUH5liBQNZybVxd4/06M5Nq4u8f6dYXYr9sAtNshslpsEtia0xCazu7iRZkYMVbzVuDBWuOm8i6qu1f8A9ARLLI0eT55bLHMIXtiuo8psWErGRpvCORew0D0UH07OTauLvH+nRnJtXF3j/TrH7LPtjsNiiVlfbUsiJIlniNzZuRQ6u7Eb2CjAgHSbxo9Ij2WfbNZLEqLcbROwUtZYmF8IYBt8e64EXjRw/kKDaZybVxd4/wBOjOTauLvH+nTQNdoFM5Nq4u8f6dGcm1cXeP8ATpuigUzk2ri7x/p0ZybVxd4/06booFM5Nq4u8f6dGcm1cXeP9Om6KBTOTauLvH+nRnJtXF3j/TpuigWs1oYuyOiqQqterFwQxYelRd5v/NFcj+8P0UfxS0UBH94foo/ilpqlY/vD9FH8UtNUBRRRQFFFFAUUUUBRRRQfJtjv/wA5yh/2Q+Gx1P8AZMdGWf8AyU3/AOqNhViefZPlDKcattUxbWSZlZBLKogVgmIDEAYXvI/Llq+H2evFPa3sVuazJbWMk0LRJNhka/FJC5YYCcR4Qw6hQfNNkf8A8Lyb/wB2nvtNfTPtY2ObcyTMqm6WAbbhN9xDxXkge1cS+0jkrxsk+zGO05Ns+TYp2s8NnZXBwCV3KBlUkkgaS7k6NJPopj/0VO00882UM7JLYmsKnMIiQxu2JmCB/KY/meTkuoEfs0tj5QUZXnW5mgWxwryLHcbTLcDozk4YfxiWtXsgyLBarM0FrQPCbnZWZox5BxAllIIAIv4fRSOwfYtudYlsYmz6ozFHKCMgOS5U3E3+UW06OGvOz/ItoteTZrLZJEiklATHIWVc2SM4pKgnSt44PTQfKNg9lGU9kBtkCFLFk6IQ2cHEd7jVo7OgLabz5chvvI4Dw18/yd/7Ba//ACFl+C019m+znYRlbJ7xwSTZP2mHd5o4gxlkLKbjiMYvN+AcPAt1Ze0fYdlBBNYoJrIbJLaUnz0hkEqiISKgKheG6Q3gX3kDSNNAl9p2S4l2O5JtCwxrK8MKvMqqHdRZxcGYC9rsK3X8F1TfbrkyJLPk2ZIY0kkRs5KiqrS3JBdjYDyrrzw8tbn7QvsymteS7HYbJJENq4VxTlkxIkebB8lW0nQaj+077NrTlGz2KKzvZ1azKwcys6gkrGow4UN+lDw3eig+lrwV2uCu0BRRRQFFFFAUUUUBRRRQKx/eH6KP4paKI/vD9FH8UtFBE8xW0PdG771HpUxi7ypecwqXbjery9cHjoRv+ofoo/ilpLZRY89Y5IlMt7YQDCY8YuZTiukIV1F17KfOUMum+6gd22/q8vXB46NuN6vL1weOvncOxm1XPnLLGpkzUxWJohEjR2aeJogpbyTnGW4C8DH51wJGm2FZJls2ejm0qrJFBKSpaSzIt8eO4+egbNknhzd/poL7bjery9cHjo243q8vXB46ZxjlFUmzHJW2rC9mUm+Ro1xIQGjGcQmUEkaVALcuigstuN6vL1weOjbjery9cHjr53FsZtmcd7TDtgSSvJLEjxYZJpbJCiugZh5CTCdBfcRjVrvSHtj2xy1w2yB5TnUJU2h2dTdaYbKIBaUBN5Ehd1bRffGhu0mg223G9Xl64PHRtxvV5euDx0xjHKK7jHKKBbbbery9cHjo22/q8vXB46zuXtjQmyhFKIUZTZ5xLKSuic7W2uTeb9Gae64XDTzjfl//AEraTHZcVlJzUMEMqE2aQsYbLaonNzOAymWWIAk+jFoABoPpW3G9Xl64PHRtxvV5euDx1NEwwjgGgaL77vyvr3jHKKBbbjery9cHjo22/q8vXB46yez3Y5NaZFay6C9knsssiuEZL83PAwvIv32HBo9ExqqtOxm0GYytZsRlsV7qu12CWyV7TK6B2cFcBmj8pb8QQLwUH0Hbjery9cHjo243q8vXB46zmwTJMsAkzq5lGis6LAWVrpo4gs81ykhcTYRoOnNk+nTrMY5RQLbcb1eXrg8dG239Xl64PHXu1QJIhjkCurC5kPAw5DyivmE2wu07TjWODNynJ1viluaC9rRNm1gQnHdeVQjEOD0kUH0zbjery9cHjo243q8vXB46yWxzIU0dsxPFgRbRaZw+KMqUnWEIoAN+IYXBF1wwfmL9tjHKKBbbjery9cHjo22/q8vXB46YxjlFfPdkWxSeaXKEixK2cezmAERFnwizrI6uXGFQElBQ3Yr7+Sg3W3G9Xl64PHRtxvV5euDx1kth+RZ4bYzzxYFFmkhxhozGzm1TyjNqGJSMxyIVU+aLlvJWtrjHKKBfbjery9cHjo243q8vXB46ZxjlFZjZ3k2SeFBAhkdHMixnNtDI2BkzVoVmXyGDsMS6UNzeigvttt6vL1weOjbjery9cHjr59lLY5aZXtDtZseeezWlAXibMyJaFE0VzPdi2qkIJGgiMjhYg/RbNCkaLGgCqihFUcCqouAH+1AvZZS08l6Mm9x6GwG/TLzWNFSRH/qH6KP4paKCM2ZGtD40Rroo/OUNd5UvLU250Wpj7C/KvMf3h+ij+KWmqBfc6LUx9hflRudFqY+wvypiigrrZk+O+Peo+NH4F5G/KmdzotTH2F+Vebbwx9KPc1NUC+50Wpj7C/Kjc6LUx9hflTFFAq+TorjvMXBzF+VQ2DJ8eZj3qPi1/AvIPyp5+A+yocn8TH0a+4UBudFqY+wvyo3Oi1MfYX5UxRQL7nRamPsL8qVsmT48cu9R8aPwLq4vyqypSx+fN0o/xxUHvc6LUx9hflRudFqY+wvypiigX3Oi1MfYX5UtJk+PPoM1H5j/AIF5Y/yqxpWXj4/4P746D1udFqY+wvyo3Oi1MfYX5UxRQL7nRamPsL8qWyjk+MQvvUfBzF+VWNK5T4l/ZQLSmBbQlnMK45EaRd6GHCmENe911/lDRw03udFqY+wvypa15NdrXDOsiKsSupjKMzPnMN5DhgFuwj8J9NWNAvudFqY+wvyrm50Wpj7C/KmaKCpgssawu+11kIkluREjLNdI9yi+4dZAr3kzMzxCRYFXynQo6IGSSNmjdDdeLwysLwSDdoJFdzLvZpEhlEMjPKFlK5zAxkfysN4vu9tS5GsBhgWIlDhvF8augN5JvON3JY33lixJJJ9NBLudFqY+wvyo3Oi1MfYX5UxRQJWaBVncIqrvUfmgLfpl5KK9x/eH6KP4paKAj+8P0UfxS01Ve9mDWhyS4uiTzXkT8UvoUi+oMmzQzhs29ovRgrJI1rhdSQGF6SEG4ggg3XUFvRSu5y86XvZ/FRucvOl72fxUBbeGPpR7mpqqy2ZPW+PypeNA42fkb9Vcvhz+1s7Jnc0Zs3nbReIwQuI+Vo0kDTw6eQ0FpRSu5y86XvZ/FRucvOl72fxUDD8B9lQ5P4mPo19wrw+TluPlS8Gtn8VVrSwwwQmRrR5YVFWM2yZmbAXICR4j5qseD0UF7RSi5PUi/FN/vLOP+MVd3OXnS97P4qBqlLH583Sj/HFXdzl50vez+KkM1HGJ5JJJFRJLyxln0DNxcjaT/wA0FzRSFmsySIHU2gAi8B3tUTf7o5BH+4qXc5edL3s/ioGqVl4+P+D++Ojc5edL3s/ipaTJ655Bil8x/wDVn5Y/1UFnRVPHaIWtG18VqElzMA+3UVlQqGZZGuVgC68BPnCntzl50vez+KgapXKfEv7KNzl50vez+Klso5PUQucUvBrZ/FQWdFU9qtMEcqxPLMHbDoD2pgucYpHjcG5MTgquIi8i4U9ucvOl72fxUDVcpbc5edL3s/io3OXnS97P4qAyd5h6WX/I9NVTJHFFA8skkqqskhLZ2c6BI40ANeSdAuGkk1PYFimjzkbzFbyumS0oyspKsrKzAqQQRcRQWVFK7nLzpe9n8VG5y86XvZ/FQEf3h+ij+KWio7LAFnkALHe4/OZ39MvOJurtB6Xj5LuHNJdfy3y0lkDJskbTySiNDNKJc1E7zKpwqrNnHVSSSOC64AC7009H94foo/ilpqgKKKKBW28MfSj3NVbZ9jWC37aWWQqyTY43IN8kpgII8m/CFhu0nRhQDQKsrbwx9KPc1NUBRRRQeX4D7KoMsZJe0WKJI0jZwgKSSSSwmBzGUEyNGpJYYjovF950ir9+A+yocn8TH0a+4UEsSkKATiIABY6MRHpr3RRQFUeVcmG0Q2iJSt+fjkAYsqsYhZ5QjFdIDYMJI0gG/TV5Slj8+bpR/jioIcgWB4bOI5CCcbsFVmdY0d2dIVZgCyopCgkDzeADQLGiigKVl4+P+D++OmqVl4+P+D++OghsuTmFpltEhUllWKIC/e4VGI33/iaRmJu9Cx8lWFFFAUrlPiX9lNUrlPiX9lBTZY2OSS22O0KUAXM3MWdWjzUrSSDNgXTB1KqMZGAriGmtHRRQFFFFBVS2ITWWWIqHxPLcpZovLEjlTnFBKEMAcQBIuvr1seyU0EJV2xO8rzOcTP5TknDiYAtcMIvuF919w4Azk7zD0sv+R6aoCiiigVj+8P0UfxS0UR/eH6KP4paKCJoS1oe6R03qPQojN/lS85TUu1G18vVD4KE49+ij+KWsFbYGay3CK1OBugIQ8dqZ1tkkoexS+WMQOAvhkOhb+EGg3u1G18vVD4KNqNr5eqHwUyvBprtBWWyytfHv8vGj0Q8jfopnaja+Xqh8FFt4Y+lHuaqdyBb7ViFpwtYogWUWrDiUzYhEyi4NhePRGcRJ5RQXG1G18vVD4KNqNr5eqHwUpsVJ3PswYOrCzRqyyK6OHVQrBlYAg3g8NWtAo9ka47/LwckPgqGwWVszHv8ALxa+iHkH6KffgPsrPZe+4QECYkTWV7oRM5uWSJnLLECSuAOSCLtHsoLnaja+Xqh8FG1G18vVD4KpMlopynM6QyQ4Y2jYmKZBanLIzTNIVwsFuCppJ8qT8N1+loFdqNr5eqHwUrZLK2Obf5eNHoh1cX6KtKrZLsFpxY7sRvzecx3ZqPzc35V/8dNAxtRtfL1Q+Cjaja+Xqh8FZGzw4hkwiGXPpHCJC0FoSQRqjKwM7ACNVbGWQ6X8kaL1v3FArtRtfL1Q+ClpLK2fTf5fMf0Q8sf6Ks6Vl4+P+D++OgNqNr5eqHwUbUbXy9UPgrP2mKZrZa0s+cUvHZ/LlNpjjuUy55YZSrBWwsnmaAWvuvvqz2IxOuTrMsqlHWzorIS5KkKBccQBvuuvvHDfw8NA7tRtfL1Q+Clso2Vsy+/y8HJD4Ks6VynxL+ygNqNr5eqHwUbUbXy9UPgqpyyP+vg4+42edGZFndFxBMN4UFQ2hrr9Po9NR7BYM3Z3jCAIkgRJhDJZWtCiOO+V45NOLFiUn04KC62o2vl6ofBRtRtfL1Q+CmqKCssFlbAd/l42T0Q6x/0UztRtfL1Q+CoobsxJixXY5r8GPFdjkvw4PKvu4MOnk01jbAJg1gYxO+CyWSNY54J2Ky42jtjlzdmZEQI2JxewW4X3m8NvtRtfL1Q+Cjaja+Xqh8FNUUCNliKzyXuz73HpbALtMvNArte4/vD9FH8UtFAR/eH6KP4paapBse2HwYOKjvxYudLyVLv37X96Bqild+/a/vRv37X96AtvDH0o9zU1VbbM7fHxXGjn8jUxv37X96Bqild+/a/vRv37X96Bh+A+yocn8TH0a+4V4fO3HiuD9dQ2DO5mPiuLXn8goLGild+/a/vRv37X96BqlLH583Sj/HFXd+/a/vS1kzuObiuNHP1cVBZ0Urvv7X96N+/a/vQNUrLx8f8AB/fHRv37X96XlzufTivMfn8sdBZUUrv37X96N+/a/vQNUrlPiX9lG/ftf3pfKOdzL8VwfroLKild+/a/vRv37X96Bqild+/a/vRv37X96Ayf5h6WX/I9NVWZPzuA8VxsnP1j0zvv7X96Bqild+/a/vRv37X96Aj+8P0UfxS0VHZcWfkx4eKjuw38svLXaD2nHv0UfxS1lpbbJJY2C2yQzm3TWWF4jEuJzI6pjUKb1jjUuRw4YzWpj+8P0UfxS1LFZEXzY0XTi8lVGm66/R6btFB7QXAC8m4XXm68/mbq9UUUCtt4Y+lHuas3l/K8iS2tEtAF0FkMaEoubaaaSJ/KuJQMAgLkHBeGuN1x0lt4Y+lHuapGsaEsTGhLLhYlVJZToKk+kXAaPyoK3Ypa2ksitIzMwkljJYqxGblkQJjGh8IULi/Fhv8ATVxXmOMKoVQFAFwVQAABwAAcAr1QeX4D7KosrWxorHZ3WbNb/ZUYnB5cbyRI8flcF6s3Bp0VevwH2UrZbOrwRh0Vxm1NzAML8N19x9poKLI1un3RkhlZ2GCaRhigeNFEqLZcAQ4o74i4IcC9ozdfcTWpqOOBVLFVVSxxMVABZuC83cJqSgKqLbaESK0vLM0CBwWlQgMowQ6F0HSeAAC8k6NN1W9JWeIM0ysoYGUXqwBB3uLhBoMfZMrziWIPaWLA2YLBihfOx2iedJBIUG+OkKLeVNwaFjwE372oEsUYKlY4wUvCkKowBvOC6NF/puqegKVl4+P+D++OmqVl4+P+D++OgzNuykwktpgtrYYrNIWLtC4jtS3FViUjQEW9WvvF7qNLK12oyfNjhje8NijVsQuN5IGnRQbBHexzUd7C5jhW9hw3E3adIHVU0cYUBVAUDQFAAAHIAKD1SuU+Jf2U1SuU+Jf2UFRlu2XW2COO0sj3h5IS0YjFm8oM7qwvLMblW433reNCvXvYjazJHK4naeIzbw8jI7mLAl7EqB5LOJGW/ThYcAIAuJLIjMGaNGYcDMqkj06CeCuwWVEvCIiXm8hFC3nlN1BLRRRQVjzKllleSUwopmLTAgGNQ8l7gkG672Vm0yhIIrLIbW+I2tUzbSQs+1pZykayRBd8coVQ6QU0t5RU4tZYkBjYMAQZZQQdIIzj6CK9pk+JSpWKMFb8JCqCuLhwm7Rf+VAxRRRQKx/eH6KP4paKI/vD9FH8UtFBE0rC0PhjL71HpvUXeVLy1Ltl9Se0leWYCWQsbgIUJOkXC+a81hJbfM1ikksUkkkJnzoAtDPPCiiERxMzksodhJIy33gMF0XtcG92xJqD2ko2xJqD2kpkV2grbZaHvj3k8aPxJyNTG2X1J7SUW3hj6Ue5qymW7Sj2u0Rx202ZkszJK0k8qrnHERQpFjGBUQEl0w8Zwk47g1e2H1J7SUbYk1B7SUnsVtOOyI1x8+RQxklnEgV3USrJISzIwAYXngYXXi41bUCj2h7jvJ4OclQ2C0PmY95PFr+JOQU+/AfZWW2U2pFsESGVoZJFCQyiWSzrHKU46RlIBVBe2Fr7yAACSKDQ7Yk1J7SUbYk1B7SVnNjmUXa3zLI2cLGYkB5f+njilVYFaInCokiZXVgAThY+VebtbQK7Yk1B7SUtZLQ+ObeTxo/Emriqzqkynao44LU85cRhxizbPG58iEBVZSCCSQOEDTpIF9BY7ZfUntJRtiTUHtJWXyVAZGsaraJZGVTPLLFaJ5IhCjMI7OSGwynGwTEwJZYHv03VsqBXbEmoPaSl5LQ+fTeT5j/iTljqypWXj4/4P746A2y+pPaSjbEmpPaSsTlnKKma0Zi0sgWSOKVJJ5rjJn487IVxXwQKt8ZZbgc4dFygnVbFJmawws5ctg0s5LFriQGDHS6kAFWOkrcTpJoHNsSag9pKXyjaHzL7yeDnJVlSuU+Jf2UBth9Se0lG2H1J7SVQ7IrSu3YIY7QYJyMeJpXWPNnGqpmS2GV3fRdcSApN4IW/mwSWRklxPnIwyKkmee1q8gRc80czgYlLXcGgHFwG8AL/AGxJqD2ko2xJqD2kpqigrMn2h8B3k8bJ+JNY9M7ZfUntJS+NBZpDK5RMcuNwzR4Vzj3tjUgr7QRdWIsVukvjBnlJEsYsuGWZ0nvtjraMBJ3+MQZsXvfcl5Fw00G/2xJqD2ko2xJqD2kpqigRssjGeTEmDeo9F4N+mXkrte4/vD9FH8UtFAR/eH6KP4paapB7SFtD3hzfFH5qSP8Ail9Kg1LuivNl7qfw0DVFK7orzZe6n8NG6K82Xup/DQFt4Y+lHuamqrLZlBb4/Jl40Hip+Rv00zuivNl7qfw0DVFK7orzZe6n8NG6K82Xup/DQMPwH2VDk/iY+jX3CvD5RW4+TLwaqfw1DYMoLmY/Jl4tf9KfkH6aCxopXdFebL3U/ho3RXmy91P4aBqlLH583Sj/ABxV3dFebL3U/hpWyZQXHL5MvGj/AEp9XF+mgtKKV3RXmy91P4aN0V5svdT+GgapWXj4/wCD++OjdFebL3U/hpaTKC59Dhl8x/8ASn5Y/wBNBZ0UruivNl7qfw0borzZe6n8NA1SuU+Jf2UborzZe6n8NLZRygphcYZeDVT+Ggs6KV3RXmy91P4aN0V5svdT+GgaopXdFebL3U/ho3RXmy91P4aAyf5h6WX/ACPTVVtitoVSCso3yQ8VNwM7EHzeQimN0V5svdT+GgaopXdFebL3U/ho3RXmy91P4aAj+8P0UfxS0VHZZw08hAYb3H5yunpl5wF9doPace/RR++Ws2mVLQglRpsTRZQs0V80ceNrPO8KMRmiFAYu5U3EgC4i/SNIovncHSM0guPp0y0uuxuyiPNCyWfN487m82mHOAXB7rvOAAAPoAHJQWIrtFFArbeGPpR7mpqlbbwx9KPc1NUBRRRQeX4D7KhyfxMfRr7hUz8B9lQ5P4mPo19woGKKKKApSx+fN0o/xxU3Slj8+bpR/jioG6KKKApWXj4/4P746apWXj4/4P746BqiiigKVynxL+ymqVynxL+ygaoqqyjbLQryCOHEqwl0IXEWkANy3Y1v03DDovvvxClLLb7aSMdniUZ3Cbr783jhGIeVzHmOnV8A4CGgorPPly2AkDJZIBcBs/HpCC8NddwPwL+fDcNNRTZatocFbBemZDmMkFhKTpjx4gDcLuBeXhoNNRWbbLNtJI2jm1uUh8SzkG/SMAZMRuI9IAuJvPBXVy5bMRG5puvOEmVV0KwAv0HhGn/jTw0GjorO2fLdsJIbJ5QXMQ2NTdcGwrd+I4govvA0k8FxMliyra2mVZLEEjbCMQkDFD5RZjo0i7ALtGkNpN4oLSP7w/RR/FLRRH94foo/ilooIzaUW0PjdVvijuxELf5UvLU26MWuj7a/OpytcwDkFBDujFro+2vzo3Ri10fbX51NgHIKMA5BQIWy3x3x77HxoPnryN+dM7oxa6Ptr86nwDkFcwDkFBDujFro+2vzo3Ri10fbX51NgHIKMA5BQLvlCK477Hwc9fnUNgyhHmY99j4tfxLyD86ewDkFGAcgoId0YtdH21+dG6MWuj7a/OpsA5BRgHIKCHdGLXR9tfnStkt8eOXfY+NH4l1cX51YYByCu4ByCgg3Ri10fbX50boxa6Ptr86mwDkFGAcgoId0YtdH21+dLSW+PPoc7H5j/jXlT86fwDkFdwDkFBBujFro+2vzo3Ri10fbX51NgHIKMA5BQQ7oxa6Ptr86Wyjb4zC4EsfBz1+dP4ByCu4ByCgg3Ri1sfbX50boxa6Ptr86mwDkFGAcgoId0YtdH21+dG6MWtj7a/OpsA5BRgHIKCHdGLXR9tfnRujFrY+2vzqbAOQUYByCgh3Ri1sfbX50boxa6Ptr86mwDkFGAcgoFLNOrTuVZW3uPzSGu0y8lFOAUUH/2Q=="/>
          <p:cNvSpPr>
            <a:spLocks noChangeAspect="1" noChangeArrowheads="1"/>
          </p:cNvSpPr>
          <p:nvPr/>
        </p:nvSpPr>
        <p:spPr bwMode="auto">
          <a:xfrm>
            <a:off x="79375" y="-727075"/>
            <a:ext cx="1828800" cy="1504950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" name="Rectangle 7"/>
          <p:cNvSpPr>
            <a:spLocks noChangeArrowheads="1"/>
          </p:cNvSpPr>
          <p:nvPr/>
        </p:nvSpPr>
        <p:spPr bwMode="gray">
          <a:xfrm>
            <a:off x="152400" y="1219200"/>
            <a:ext cx="8915400" cy="449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9" tIns="36571" rIns="36571" bIns="36571"/>
          <a:lstStyle/>
          <a:p>
            <a:pPr marL="458788" lvl="1" indent="-457200" algn="just" defTabSz="1019175" eaLnBrk="0" hangingPunct="0">
              <a:buClr>
                <a:schemeClr val="folHlink"/>
              </a:buClr>
              <a:buSzPct val="125000"/>
              <a:buFont typeface="+mj-lt"/>
              <a:buAutoNum type="arabicPeriod"/>
            </a:pPr>
            <a:endParaRPr lang="en-US" sz="2400" b="1" dirty="0" smtClean="0">
              <a:solidFill>
                <a:schemeClr val="bg2"/>
              </a:solidFill>
            </a:endParaRPr>
          </a:p>
          <a:p>
            <a:pPr marL="1373188" lvl="3" indent="-457200" algn="just" defTabSz="1019175" eaLnBrk="0" hangingPunct="0">
              <a:buClr>
                <a:schemeClr val="folHlink"/>
              </a:buClr>
              <a:buSzPct val="125000"/>
              <a:buFont typeface="+mj-lt"/>
              <a:buAutoNum type="arabicPeriod"/>
            </a:pPr>
            <a:r>
              <a:rPr lang="en-US" sz="2400" b="1" dirty="0" smtClean="0">
                <a:solidFill>
                  <a:schemeClr val="accent1"/>
                </a:solidFill>
                <a:sym typeface="Wingdings" pitchFamily="2" charset="2"/>
              </a:rPr>
              <a:t>Situation from </a:t>
            </a:r>
            <a:r>
              <a:rPr lang="en-US" sz="2400" b="1" i="1" dirty="0" smtClean="0">
                <a:solidFill>
                  <a:schemeClr val="bg2"/>
                </a:solidFill>
                <a:sym typeface="Wingdings" pitchFamily="2" charset="2"/>
              </a:rPr>
              <a:t>YOUR</a:t>
            </a:r>
            <a:r>
              <a:rPr lang="en-US" sz="2400" b="1" dirty="0" smtClean="0">
                <a:solidFill>
                  <a:schemeClr val="accent1"/>
                </a:solidFill>
                <a:sym typeface="Wingdings" pitchFamily="2" charset="2"/>
              </a:rPr>
              <a:t> perspective</a:t>
            </a:r>
          </a:p>
          <a:p>
            <a:pPr marL="1373188" lvl="3" indent="-457200" algn="just" defTabSz="1019175" eaLnBrk="0" hangingPunct="0">
              <a:buClr>
                <a:schemeClr val="folHlink"/>
              </a:buClr>
              <a:buSzPct val="125000"/>
              <a:buFont typeface="+mj-lt"/>
              <a:buAutoNum type="arabicPeriod"/>
            </a:pPr>
            <a:endParaRPr lang="en-US" sz="2400" b="1" dirty="0" smtClean="0">
              <a:solidFill>
                <a:schemeClr val="accent1"/>
              </a:solidFill>
              <a:sym typeface="Wingdings" pitchFamily="2" charset="2"/>
            </a:endParaRPr>
          </a:p>
          <a:p>
            <a:pPr marL="1373188" lvl="3" indent="-457200" algn="just" defTabSz="1019175" eaLnBrk="0" hangingPunct="0">
              <a:buClr>
                <a:schemeClr val="folHlink"/>
              </a:buClr>
              <a:buSzPct val="125000"/>
              <a:buFont typeface="+mj-lt"/>
              <a:buAutoNum type="arabicPeriod"/>
            </a:pPr>
            <a:endParaRPr lang="en-US" sz="2400" b="1" dirty="0" smtClean="0">
              <a:solidFill>
                <a:schemeClr val="accent1"/>
              </a:solidFill>
              <a:sym typeface="Wingdings" pitchFamily="2" charset="2"/>
            </a:endParaRPr>
          </a:p>
          <a:p>
            <a:pPr marL="1373188" lvl="3" indent="-457200" algn="just" defTabSz="1019175" eaLnBrk="0" hangingPunct="0">
              <a:buClr>
                <a:schemeClr val="folHlink"/>
              </a:buClr>
              <a:buSzPct val="125000"/>
              <a:buFont typeface="+mj-lt"/>
              <a:buAutoNum type="arabicPeriod"/>
            </a:pPr>
            <a:r>
              <a:rPr lang="en-US" sz="2400" b="1" dirty="0" smtClean="0">
                <a:solidFill>
                  <a:schemeClr val="accent1"/>
                </a:solidFill>
                <a:sym typeface="Wingdings" pitchFamily="2" charset="2"/>
              </a:rPr>
              <a:t>Situation from </a:t>
            </a:r>
            <a:r>
              <a:rPr lang="en-US" sz="2400" b="1" i="1" dirty="0" smtClean="0">
                <a:solidFill>
                  <a:schemeClr val="bg2"/>
                </a:solidFill>
                <a:sym typeface="Wingdings" pitchFamily="2" charset="2"/>
              </a:rPr>
              <a:t>THEIR</a:t>
            </a:r>
            <a:r>
              <a:rPr lang="en-US" sz="2400" b="1" dirty="0" smtClean="0">
                <a:solidFill>
                  <a:schemeClr val="accent1"/>
                </a:solidFill>
                <a:sym typeface="Wingdings" pitchFamily="2" charset="2"/>
              </a:rPr>
              <a:t> perspective</a:t>
            </a:r>
          </a:p>
          <a:p>
            <a:pPr marL="1373188" lvl="3" indent="-457200" algn="just" defTabSz="1019175" eaLnBrk="0" hangingPunct="0">
              <a:buClr>
                <a:schemeClr val="folHlink"/>
              </a:buClr>
              <a:buSzPct val="125000"/>
              <a:buFont typeface="+mj-lt"/>
              <a:buAutoNum type="arabicPeriod"/>
            </a:pPr>
            <a:endParaRPr lang="en-US" sz="2400" b="1" dirty="0" smtClean="0">
              <a:solidFill>
                <a:schemeClr val="accent1"/>
              </a:solidFill>
              <a:sym typeface="Wingdings" pitchFamily="2" charset="2"/>
            </a:endParaRPr>
          </a:p>
          <a:p>
            <a:pPr marL="1373188" lvl="3" indent="-457200" algn="just" defTabSz="1019175" eaLnBrk="0" hangingPunct="0">
              <a:buClr>
                <a:schemeClr val="folHlink"/>
              </a:buClr>
              <a:buSzPct val="125000"/>
              <a:buFont typeface="+mj-lt"/>
              <a:buAutoNum type="arabicPeriod"/>
            </a:pPr>
            <a:endParaRPr lang="en-US" sz="2400" b="1" dirty="0" smtClean="0">
              <a:solidFill>
                <a:schemeClr val="accent1"/>
              </a:solidFill>
              <a:sym typeface="Wingdings" pitchFamily="2" charset="2"/>
            </a:endParaRPr>
          </a:p>
          <a:p>
            <a:pPr marL="1373188" lvl="3" indent="-457200" algn="just" defTabSz="1019175" eaLnBrk="0" hangingPunct="0">
              <a:buClr>
                <a:schemeClr val="folHlink"/>
              </a:buClr>
              <a:buSzPct val="125000"/>
              <a:buFont typeface="+mj-lt"/>
              <a:buAutoNum type="arabicPeriod"/>
            </a:pPr>
            <a:r>
              <a:rPr lang="en-US" sz="2400" b="1" dirty="0" smtClean="0">
                <a:solidFill>
                  <a:schemeClr val="accent1"/>
                </a:solidFill>
                <a:sym typeface="Wingdings" pitchFamily="2" charset="2"/>
              </a:rPr>
              <a:t>Two layers of learning:</a:t>
            </a:r>
          </a:p>
          <a:p>
            <a:pPr marL="1373188" lvl="3" indent="-457200" algn="just" defTabSz="1019175" eaLnBrk="0" hangingPunct="0">
              <a:buClr>
                <a:schemeClr val="folHlink"/>
              </a:buClr>
              <a:buSzPct val="125000"/>
              <a:buFont typeface="+mj-lt"/>
              <a:buAutoNum type="arabicPeriod"/>
            </a:pPr>
            <a:endParaRPr lang="en-US" sz="2000" b="1" dirty="0" smtClean="0">
              <a:solidFill>
                <a:schemeClr val="accent1"/>
              </a:solidFill>
              <a:sym typeface="Wingdings" pitchFamily="2" charset="2"/>
            </a:endParaRPr>
          </a:p>
          <a:p>
            <a:pPr marL="1830388" lvl="4" indent="-457200" algn="just" defTabSz="1019175" eaLnBrk="0" hangingPunct="0">
              <a:buClr>
                <a:schemeClr val="folHlink"/>
              </a:buClr>
              <a:buSzPct val="125000"/>
            </a:pPr>
            <a:r>
              <a:rPr lang="en-US" sz="2400" b="1" dirty="0" smtClean="0">
                <a:solidFill>
                  <a:schemeClr val="bg2"/>
                </a:solidFill>
                <a:sym typeface="Wingdings" pitchFamily="2" charset="2"/>
              </a:rPr>
              <a:t>	a. </a:t>
            </a:r>
            <a:r>
              <a:rPr lang="en-US" sz="2400" b="1" i="1" dirty="0" smtClean="0">
                <a:solidFill>
                  <a:schemeClr val="bg2"/>
                </a:solidFill>
                <a:sym typeface="Wingdings" pitchFamily="2" charset="2"/>
              </a:rPr>
              <a:t>General</a:t>
            </a:r>
            <a:r>
              <a:rPr lang="en-US" sz="2400" b="1" dirty="0" smtClean="0">
                <a:solidFill>
                  <a:schemeClr val="accent1"/>
                </a:solidFill>
                <a:sym typeface="Wingdings" pitchFamily="2" charset="2"/>
              </a:rPr>
              <a:t> lesson</a:t>
            </a:r>
          </a:p>
          <a:p>
            <a:pPr marL="1830388" lvl="4" indent="-457200" algn="just" defTabSz="1019175" eaLnBrk="0" hangingPunct="0">
              <a:buClr>
                <a:schemeClr val="folHlink"/>
              </a:buClr>
              <a:buSzPct val="125000"/>
              <a:buFont typeface="+mj-lt"/>
              <a:buAutoNum type="arabicPeriod"/>
            </a:pPr>
            <a:endParaRPr lang="en-US" sz="2400" b="1" dirty="0" smtClean="0">
              <a:solidFill>
                <a:schemeClr val="accent1"/>
              </a:solidFill>
              <a:sym typeface="Wingdings" pitchFamily="2" charset="2"/>
            </a:endParaRPr>
          </a:p>
          <a:p>
            <a:pPr marL="1830388" lvl="4" indent="-457200" algn="just" defTabSz="1019175" eaLnBrk="0" hangingPunct="0">
              <a:buClr>
                <a:schemeClr val="folHlink"/>
              </a:buClr>
              <a:buSzPct val="125000"/>
              <a:buFont typeface="+mj-lt"/>
              <a:buAutoNum type="arabicPeriod"/>
            </a:pPr>
            <a:endParaRPr lang="en-US" sz="2400" b="1" dirty="0" smtClean="0">
              <a:solidFill>
                <a:schemeClr val="accent1"/>
              </a:solidFill>
              <a:sym typeface="Wingdings" pitchFamily="2" charset="2"/>
            </a:endParaRPr>
          </a:p>
          <a:p>
            <a:pPr marL="1830388" lvl="4" indent="-457200" algn="just" defTabSz="1019175" eaLnBrk="0" hangingPunct="0">
              <a:buClr>
                <a:schemeClr val="folHlink"/>
              </a:buClr>
              <a:buSzPct val="125000"/>
            </a:pPr>
            <a:r>
              <a:rPr lang="en-US" sz="2400" b="1" dirty="0" smtClean="0">
                <a:solidFill>
                  <a:schemeClr val="bg2"/>
                </a:solidFill>
                <a:sym typeface="Wingdings" pitchFamily="2" charset="2"/>
              </a:rPr>
              <a:t>	b. </a:t>
            </a:r>
            <a:r>
              <a:rPr lang="en-US" sz="2400" b="1" i="1" dirty="0" smtClean="0">
                <a:solidFill>
                  <a:schemeClr val="bg2"/>
                </a:solidFill>
                <a:sym typeface="Wingdings" pitchFamily="2" charset="2"/>
              </a:rPr>
              <a:t>Technical</a:t>
            </a:r>
            <a:r>
              <a:rPr lang="en-US" sz="2400" b="1" dirty="0" smtClean="0">
                <a:solidFill>
                  <a:schemeClr val="accent1"/>
                </a:solidFill>
                <a:sym typeface="Wingdings" pitchFamily="2" charset="2"/>
              </a:rPr>
              <a:t> lesson</a:t>
            </a:r>
          </a:p>
        </p:txBody>
      </p:sp>
      <p:sp>
        <p:nvSpPr>
          <p:cNvPr id="9" name="Rectangle 2"/>
          <p:cNvSpPr txBox="1">
            <a:spLocks noChangeArrowheads="1"/>
          </p:cNvSpPr>
          <p:nvPr/>
        </p:nvSpPr>
        <p:spPr bwMode="auto">
          <a:xfrm>
            <a:off x="1905000" y="6858000"/>
            <a:ext cx="7239000" cy="381000"/>
          </a:xfrm>
          <a:prstGeom prst="rect">
            <a:avLst/>
          </a:prstGeom>
          <a:solidFill>
            <a:srgbClr val="F6EB0A"/>
          </a:solidFill>
          <a:ln w="25400">
            <a:solidFill>
              <a:srgbClr val="FFCC00"/>
            </a:solidFill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marL="0" lvl="1" defTabSz="1019175" eaLnBrk="0" hangingPunct="0">
              <a:lnSpc>
                <a:spcPts val="2788"/>
              </a:lnSpc>
            </a:pPr>
            <a:r>
              <a:rPr lang="en-US" sz="2200" b="1" kern="0" dirty="0" smtClean="0">
                <a:ea typeface="LF_Kai" pitchFamily="2" charset="-122"/>
              </a:rPr>
              <a:t>“Right answer” less important than </a:t>
            </a:r>
            <a:r>
              <a:rPr lang="en-US" sz="2200" b="1" i="1" kern="0" dirty="0" smtClean="0">
                <a:solidFill>
                  <a:schemeClr val="bg2"/>
                </a:solidFill>
                <a:ea typeface="LF_Kai" pitchFamily="2" charset="-122"/>
              </a:rPr>
              <a:t>thought process</a:t>
            </a:r>
            <a:r>
              <a:rPr lang="en-US" sz="2200" b="1" kern="0" dirty="0" smtClean="0">
                <a:ea typeface="LF_Kai" pitchFamily="2" charset="-122"/>
              </a:rPr>
              <a:t>… </a:t>
            </a:r>
            <a:endParaRPr kumimoji="0" lang="en-US" sz="2200" b="1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rebuchet MS" pitchFamily="34" charset="0"/>
              <a:ea typeface="LF_Kai" pitchFamily="2" charset="-122"/>
              <a:cs typeface="LF_Kai"/>
            </a:endParaRPr>
          </a:p>
        </p:txBody>
      </p:sp>
    </p:spTree>
    <p:custDataLst>
      <p:tags r:id="rId1"/>
    </p:custDataLst>
  </p:cSld>
  <p:clrMapOvr>
    <a:masterClrMapping/>
  </p:clrMapOvr>
  <p:transition xmlns:p14="http://schemas.microsoft.com/office/powerpoint/2010/main">
    <p:cut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 bwMode="auto">
          <a:xfrm>
            <a:off x="3289681" y="1524001"/>
            <a:ext cx="2753112" cy="49530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254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24577" name="Rectangle 2"/>
          <p:cNvSpPr>
            <a:spLocks noGrp="1" noChangeArrowheads="1"/>
          </p:cNvSpPr>
          <p:nvPr>
            <p:ph type="title"/>
          </p:nvPr>
        </p:nvSpPr>
        <p:spPr>
          <a:xfrm>
            <a:off x="762000" y="838200"/>
            <a:ext cx="8686800" cy="288925"/>
          </a:xfrm>
        </p:spPr>
        <p:txBody>
          <a:bodyPr/>
          <a:lstStyle/>
          <a:p>
            <a:pPr lvl="1"/>
            <a:r>
              <a:rPr lang="en-US" sz="2300" dirty="0" smtClean="0"/>
              <a:t>Game time in 4 steps</a:t>
            </a:r>
            <a:endParaRPr lang="en-US" sz="2300" u="sng" dirty="0" smtClean="0">
              <a:solidFill>
                <a:schemeClr val="accent1"/>
              </a:solidFill>
            </a:endParaRPr>
          </a:p>
        </p:txBody>
      </p:sp>
      <p:sp>
        <p:nvSpPr>
          <p:cNvPr id="7" name="Rectangle 6"/>
          <p:cNvSpPr>
            <a:spLocks noChangeArrowheads="1"/>
          </p:cNvSpPr>
          <p:nvPr/>
        </p:nvSpPr>
        <p:spPr bwMode="gray">
          <a:xfrm>
            <a:off x="2908682" y="1653365"/>
            <a:ext cx="2448312" cy="52046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9" tIns="36571" rIns="36571" bIns="36571"/>
          <a:lstStyle/>
          <a:p>
            <a:pPr marL="209550" lvl="1" indent="-207963" algn="r" defTabSz="1019175" eaLnBrk="0" hangingPunct="0">
              <a:buClr>
                <a:schemeClr val="folHlink"/>
              </a:buClr>
              <a:buSzPct val="125000"/>
            </a:pPr>
            <a:r>
              <a:rPr lang="en-US" sz="1600" dirty="0" smtClean="0"/>
              <a:t>Breakout by </a:t>
            </a:r>
          </a:p>
          <a:p>
            <a:pPr marL="209550" lvl="1" indent="-207963" algn="r" defTabSz="1019175" eaLnBrk="0" hangingPunct="0">
              <a:buClr>
                <a:schemeClr val="folHlink"/>
              </a:buClr>
              <a:buSzPct val="125000"/>
            </a:pPr>
            <a:r>
              <a:rPr lang="en-US" sz="1600" dirty="0" smtClean="0"/>
              <a:t>department</a:t>
            </a:r>
          </a:p>
          <a:p>
            <a:pPr marL="209550" lvl="1" indent="-207963" algn="r" defTabSz="1019175" eaLnBrk="0" hangingPunct="0">
              <a:buClr>
                <a:schemeClr val="folHlink"/>
              </a:buClr>
              <a:buSzPct val="125000"/>
            </a:pPr>
            <a:r>
              <a:rPr lang="en-US" sz="1600" dirty="0" smtClean="0"/>
              <a:t>(or unit)…</a:t>
            </a:r>
          </a:p>
          <a:p>
            <a:pPr marL="666750" lvl="2" indent="-207963" algn="r" defTabSz="1019175" eaLnBrk="0" hangingPunct="0">
              <a:buClr>
                <a:schemeClr val="folHlink"/>
              </a:buClr>
              <a:buSzPct val="125000"/>
              <a:buFont typeface="Arial" pitchFamily="34" charset="0"/>
              <a:buChar char="•"/>
            </a:pPr>
            <a:endParaRPr lang="en-US" sz="1600" dirty="0" smtClean="0"/>
          </a:p>
          <a:p>
            <a:pPr marL="666750" lvl="2" indent="-207963" algn="r" defTabSz="1019175" eaLnBrk="0" hangingPunct="0">
              <a:buClr>
                <a:schemeClr val="folHlink"/>
              </a:buClr>
              <a:buSzPct val="125000"/>
              <a:buFont typeface="Arial" pitchFamily="34" charset="0"/>
              <a:buChar char="•"/>
            </a:pPr>
            <a:endParaRPr lang="en-US" sz="1600" dirty="0" smtClean="0"/>
          </a:p>
          <a:p>
            <a:pPr marL="209550" lvl="1" indent="-207963" algn="r" defTabSz="1019175" eaLnBrk="0" hangingPunct="0">
              <a:buClr>
                <a:schemeClr val="folHlink"/>
              </a:buClr>
              <a:buSzPct val="125000"/>
            </a:pPr>
            <a:r>
              <a:rPr lang="en-US" sz="1600" dirty="0" smtClean="0"/>
              <a:t>Take 5 minutes</a:t>
            </a:r>
          </a:p>
          <a:p>
            <a:pPr marL="209550" lvl="1" indent="-207963" algn="r" defTabSz="1019175" eaLnBrk="0" hangingPunct="0">
              <a:buClr>
                <a:schemeClr val="folHlink"/>
              </a:buClr>
              <a:buSzPct val="125000"/>
            </a:pPr>
            <a:r>
              <a:rPr lang="en-US" sz="1600" dirty="0" smtClean="0"/>
              <a:t>to identify typical problem/situation</a:t>
            </a:r>
          </a:p>
          <a:p>
            <a:pPr marL="209550" lvl="1" indent="-207963" algn="r" defTabSz="1019175" eaLnBrk="0" hangingPunct="0">
              <a:buClr>
                <a:schemeClr val="folHlink"/>
              </a:buClr>
              <a:buSzPct val="125000"/>
            </a:pPr>
            <a:r>
              <a:rPr lang="en-US" sz="1600" dirty="0" smtClean="0"/>
              <a:t>(in 3 parts)…  </a:t>
            </a:r>
          </a:p>
          <a:p>
            <a:pPr marL="209550" lvl="1" indent="-207963" algn="r" defTabSz="1019175" eaLnBrk="0" hangingPunct="0">
              <a:buClr>
                <a:schemeClr val="folHlink"/>
              </a:buClr>
              <a:buSzPct val="125000"/>
              <a:buFont typeface="Arial" pitchFamily="34" charset="0"/>
              <a:buChar char="•"/>
            </a:pPr>
            <a:endParaRPr lang="en-US" sz="1600" dirty="0" smtClean="0"/>
          </a:p>
          <a:p>
            <a:pPr marL="209550" lvl="1" indent="-207963" algn="r" defTabSz="1019175" eaLnBrk="0" hangingPunct="0">
              <a:buClr>
                <a:schemeClr val="folHlink"/>
              </a:buClr>
              <a:buSzPct val="125000"/>
              <a:buFont typeface="Arial" pitchFamily="34" charset="0"/>
              <a:buChar char="•"/>
            </a:pPr>
            <a:endParaRPr lang="en-US" sz="1600" dirty="0" smtClean="0"/>
          </a:p>
          <a:p>
            <a:pPr marL="209550" lvl="1" indent="-207963" algn="r" defTabSz="1019175" eaLnBrk="0" hangingPunct="0">
              <a:buClr>
                <a:schemeClr val="folHlink"/>
              </a:buClr>
              <a:buSzPct val="125000"/>
            </a:pPr>
            <a:r>
              <a:rPr lang="en-US" sz="1600" dirty="0" smtClean="0"/>
              <a:t>Take 15 minutes </a:t>
            </a:r>
          </a:p>
          <a:p>
            <a:pPr marL="209550" lvl="1" indent="-207963" algn="r" defTabSz="1019175" eaLnBrk="0" hangingPunct="0">
              <a:buClr>
                <a:schemeClr val="folHlink"/>
              </a:buClr>
              <a:buSzPct val="125000"/>
            </a:pPr>
            <a:r>
              <a:rPr lang="en-US" sz="1600" dirty="0" smtClean="0"/>
              <a:t>for everyone</a:t>
            </a:r>
          </a:p>
          <a:p>
            <a:pPr marL="209550" lvl="1" indent="-207963" algn="r" defTabSz="1019175" eaLnBrk="0" hangingPunct="0">
              <a:buClr>
                <a:schemeClr val="folHlink"/>
              </a:buClr>
              <a:buSzPct val="125000"/>
            </a:pPr>
            <a:r>
              <a:rPr lang="en-US" sz="1600" dirty="0" smtClean="0"/>
              <a:t>to report out…</a:t>
            </a:r>
          </a:p>
          <a:p>
            <a:pPr marL="209550" lvl="1" indent="-207963" algn="r" defTabSz="1019175" eaLnBrk="0" hangingPunct="0">
              <a:buClr>
                <a:schemeClr val="folHlink"/>
              </a:buClr>
              <a:buSzPct val="125000"/>
            </a:pPr>
            <a:endParaRPr lang="en-US" sz="1600" dirty="0" smtClean="0"/>
          </a:p>
          <a:p>
            <a:pPr marL="209550" lvl="1" indent="-207963" algn="r" defTabSz="1019175" eaLnBrk="0" hangingPunct="0">
              <a:buClr>
                <a:schemeClr val="folHlink"/>
              </a:buClr>
              <a:buSzPct val="125000"/>
            </a:pPr>
            <a:endParaRPr lang="en-US" sz="1600" dirty="0" smtClean="0"/>
          </a:p>
          <a:p>
            <a:pPr marL="209550" lvl="1" indent="-207963" algn="r" defTabSz="1019175" eaLnBrk="0" hangingPunct="0">
              <a:buClr>
                <a:schemeClr val="folHlink"/>
              </a:buClr>
              <a:buSzPct val="125000"/>
            </a:pPr>
            <a:r>
              <a:rPr lang="en-US" sz="1600" dirty="0" smtClean="0"/>
              <a:t>We will turn the</a:t>
            </a:r>
          </a:p>
          <a:p>
            <a:pPr marL="209550" lvl="1" indent="-207963" algn="r" defTabSz="1019175" eaLnBrk="0" hangingPunct="0">
              <a:buClr>
                <a:schemeClr val="folHlink"/>
              </a:buClr>
              <a:buSzPct val="125000"/>
            </a:pPr>
            <a:r>
              <a:rPr lang="en-US" sz="1600" dirty="0" smtClean="0"/>
              <a:t>information into</a:t>
            </a:r>
          </a:p>
          <a:p>
            <a:pPr marL="209550" lvl="1" indent="-207963" algn="r" defTabSz="1019175" eaLnBrk="0" hangingPunct="0">
              <a:buClr>
                <a:schemeClr val="folHlink"/>
              </a:buClr>
              <a:buSzPct val="125000"/>
            </a:pPr>
            <a:r>
              <a:rPr lang="en-US" sz="1600" dirty="0" smtClean="0"/>
              <a:t>case studies for LDP.</a:t>
            </a:r>
          </a:p>
          <a:p>
            <a:pPr marL="666750" lvl="2" indent="-207963" algn="r" defTabSz="1019175" eaLnBrk="0" hangingPunct="0">
              <a:buClr>
                <a:schemeClr val="folHlink"/>
              </a:buClr>
              <a:buSzPct val="125000"/>
              <a:buFont typeface="Arial" pitchFamily="34" charset="0"/>
              <a:buChar char="•"/>
            </a:pPr>
            <a:endParaRPr lang="en-US" sz="1600" dirty="0" smtClean="0"/>
          </a:p>
        </p:txBody>
      </p:sp>
      <p:sp>
        <p:nvSpPr>
          <p:cNvPr id="5" name="Right Arrow 4"/>
          <p:cNvSpPr/>
          <p:nvPr/>
        </p:nvSpPr>
        <p:spPr bwMode="auto">
          <a:xfrm>
            <a:off x="5433193" y="1906976"/>
            <a:ext cx="1066800" cy="304800"/>
          </a:xfrm>
          <a:prstGeom prst="rightArrow">
            <a:avLst/>
          </a:prstGeom>
          <a:solidFill>
            <a:srgbClr val="F6EB0A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6" name="Right Arrow 5"/>
          <p:cNvSpPr/>
          <p:nvPr/>
        </p:nvSpPr>
        <p:spPr bwMode="auto">
          <a:xfrm>
            <a:off x="5433193" y="3089151"/>
            <a:ext cx="1066800" cy="304800"/>
          </a:xfrm>
          <a:prstGeom prst="rightArrow">
            <a:avLst/>
          </a:prstGeom>
          <a:solidFill>
            <a:srgbClr val="F6EB0A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pic>
        <p:nvPicPr>
          <p:cNvPr id="39938" name="Picture 2" descr="http://blog.wolfram.com/images/carlson/clock.gif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52393" y="2736851"/>
            <a:ext cx="1076139" cy="1073150"/>
          </a:xfrm>
          <a:prstGeom prst="rect">
            <a:avLst/>
          </a:prstGeom>
          <a:noFill/>
        </p:spPr>
      </p:pic>
      <p:pic>
        <p:nvPicPr>
          <p:cNvPr id="39940" name="Picture 4" descr="https://www.gomylocal.com/images/megaphone.jpg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flipH="1">
            <a:off x="6657343" y="3974803"/>
            <a:ext cx="1115057" cy="1059551"/>
          </a:xfrm>
          <a:prstGeom prst="rect">
            <a:avLst/>
          </a:prstGeom>
          <a:noFill/>
        </p:spPr>
      </p:pic>
      <p:pic>
        <p:nvPicPr>
          <p:cNvPr id="39944" name="Picture 8" descr="http://www.helplink-ga.org/upload/images/HelpLink/pro_groups_LH.jpg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585409" y="1447801"/>
            <a:ext cx="1110405" cy="990600"/>
          </a:xfrm>
          <a:prstGeom prst="rect">
            <a:avLst/>
          </a:prstGeom>
          <a:noFill/>
        </p:spPr>
      </p:pic>
      <p:sp>
        <p:nvSpPr>
          <p:cNvPr id="16" name="Right Arrow 15"/>
          <p:cNvSpPr/>
          <p:nvPr/>
        </p:nvSpPr>
        <p:spPr bwMode="auto">
          <a:xfrm>
            <a:off x="5433193" y="4303353"/>
            <a:ext cx="1066800" cy="304800"/>
          </a:xfrm>
          <a:prstGeom prst="rightArrow">
            <a:avLst/>
          </a:prstGeom>
          <a:solidFill>
            <a:srgbClr val="F6EB0A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17" name="Right Arrow 16"/>
          <p:cNvSpPr/>
          <p:nvPr/>
        </p:nvSpPr>
        <p:spPr bwMode="auto">
          <a:xfrm>
            <a:off x="5442268" y="5538851"/>
            <a:ext cx="1066800" cy="304800"/>
          </a:xfrm>
          <a:prstGeom prst="rightArrow">
            <a:avLst/>
          </a:prstGeom>
          <a:solidFill>
            <a:srgbClr val="F6EB0A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pic>
        <p:nvPicPr>
          <p:cNvPr id="39948" name="Picture 12" descr="http://www.staffordshireconnects.gov.uk/NR/rdonlyres/34027E02-660C-40B6-AC08-A198DC22751A/107359/workplan.gif"/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9293" r="19981" b="24558"/>
          <a:stretch>
            <a:fillRect/>
          </a:stretch>
        </p:blipFill>
        <p:spPr bwMode="auto">
          <a:xfrm>
            <a:off x="6861368" y="5334001"/>
            <a:ext cx="793758" cy="838200"/>
          </a:xfrm>
          <a:prstGeom prst="rect">
            <a:avLst/>
          </a:prstGeom>
          <a:noFill/>
        </p:spPr>
      </p:pic>
      <p:grpSp>
        <p:nvGrpSpPr>
          <p:cNvPr id="22" name="Group 21"/>
          <p:cNvGrpSpPr/>
          <p:nvPr/>
        </p:nvGrpSpPr>
        <p:grpSpPr>
          <a:xfrm>
            <a:off x="2743200" y="1534633"/>
            <a:ext cx="2676912" cy="5399567"/>
            <a:chOff x="1981200" y="1229833"/>
            <a:chExt cx="2676912" cy="5399567"/>
          </a:xfrm>
        </p:grpSpPr>
        <p:sp>
          <p:nvSpPr>
            <p:cNvPr id="18" name="Oval 17"/>
            <p:cNvSpPr/>
            <p:nvPr/>
          </p:nvSpPr>
          <p:spPr bwMode="auto">
            <a:xfrm>
              <a:off x="1991833" y="1229833"/>
              <a:ext cx="868680" cy="868680"/>
            </a:xfrm>
            <a:prstGeom prst="ellipse">
              <a:avLst/>
            </a:prstGeom>
            <a:solidFill>
              <a:srgbClr val="F6EB0A"/>
            </a:solidFill>
            <a:ln w="6350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endParaRPr>
            </a:p>
          </p:txBody>
        </p:sp>
        <p:sp>
          <p:nvSpPr>
            <p:cNvPr id="19" name="Oval 18"/>
            <p:cNvSpPr/>
            <p:nvPr/>
          </p:nvSpPr>
          <p:spPr bwMode="auto">
            <a:xfrm>
              <a:off x="1981200" y="2352986"/>
              <a:ext cx="868680" cy="868680"/>
            </a:xfrm>
            <a:prstGeom prst="ellipse">
              <a:avLst/>
            </a:prstGeom>
            <a:solidFill>
              <a:srgbClr val="F6EB0A"/>
            </a:solidFill>
            <a:ln w="6350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endParaRPr>
            </a:p>
          </p:txBody>
        </p:sp>
        <p:sp>
          <p:nvSpPr>
            <p:cNvPr id="20" name="Oval 19"/>
            <p:cNvSpPr/>
            <p:nvPr/>
          </p:nvSpPr>
          <p:spPr bwMode="auto">
            <a:xfrm>
              <a:off x="1981200" y="3538868"/>
              <a:ext cx="868680" cy="868680"/>
            </a:xfrm>
            <a:prstGeom prst="ellipse">
              <a:avLst/>
            </a:prstGeom>
            <a:solidFill>
              <a:srgbClr val="F6EB0A"/>
            </a:solidFill>
            <a:ln w="6350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endParaRPr>
            </a:p>
          </p:txBody>
        </p:sp>
        <p:sp>
          <p:nvSpPr>
            <p:cNvPr id="21" name="Oval 20"/>
            <p:cNvSpPr/>
            <p:nvPr/>
          </p:nvSpPr>
          <p:spPr bwMode="auto">
            <a:xfrm>
              <a:off x="1981200" y="4692501"/>
              <a:ext cx="868680" cy="868680"/>
            </a:xfrm>
            <a:prstGeom prst="ellipse">
              <a:avLst/>
            </a:prstGeom>
            <a:solidFill>
              <a:srgbClr val="F6EB0A"/>
            </a:solidFill>
            <a:ln w="6350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endParaRPr>
            </a:p>
          </p:txBody>
        </p:sp>
        <p:sp>
          <p:nvSpPr>
            <p:cNvPr id="15" name="Rectangle 14"/>
            <p:cNvSpPr>
              <a:spLocks noChangeArrowheads="1"/>
            </p:cNvSpPr>
            <p:nvPr/>
          </p:nvSpPr>
          <p:spPr bwMode="gray">
            <a:xfrm>
              <a:off x="2209800" y="1424765"/>
              <a:ext cx="2448312" cy="520463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91429" tIns="36571" rIns="36571" bIns="36571"/>
            <a:lstStyle/>
            <a:p>
              <a:pPr marL="209550" lvl="1" indent="-207963" defTabSz="1019175" eaLnBrk="0" hangingPunct="0">
                <a:buClr>
                  <a:schemeClr val="folHlink"/>
                </a:buClr>
                <a:buSzPct val="125000"/>
              </a:pPr>
              <a:r>
                <a:rPr lang="en-US" sz="2500" b="1" dirty="0" smtClean="0">
                  <a:solidFill>
                    <a:schemeClr val="accent1"/>
                  </a:solidFill>
                </a:rPr>
                <a:t>1.</a:t>
              </a:r>
            </a:p>
            <a:p>
              <a:pPr marL="209550" lvl="1" indent="-207963" defTabSz="1019175" eaLnBrk="0" hangingPunct="0">
                <a:buClr>
                  <a:schemeClr val="folHlink"/>
                </a:buClr>
                <a:buSzPct val="125000"/>
              </a:pPr>
              <a:endParaRPr lang="en-US" sz="2500" b="1" dirty="0" smtClean="0">
                <a:solidFill>
                  <a:schemeClr val="accent1"/>
                </a:solidFill>
              </a:endParaRPr>
            </a:p>
            <a:p>
              <a:pPr marL="209550" lvl="1" indent="-207963" defTabSz="1019175" eaLnBrk="0" hangingPunct="0">
                <a:buClr>
                  <a:schemeClr val="folHlink"/>
                </a:buClr>
                <a:buSzPct val="125000"/>
              </a:pPr>
              <a:endParaRPr lang="en-US" sz="2500" b="1" dirty="0" smtClean="0">
                <a:solidFill>
                  <a:schemeClr val="accent1"/>
                </a:solidFill>
              </a:endParaRPr>
            </a:p>
            <a:p>
              <a:pPr marL="209550" lvl="1" indent="-207963" defTabSz="1019175" eaLnBrk="0" hangingPunct="0">
                <a:buClr>
                  <a:schemeClr val="folHlink"/>
                </a:buClr>
                <a:buSzPct val="125000"/>
              </a:pPr>
              <a:r>
                <a:rPr lang="en-US" sz="2500" b="1" dirty="0" smtClean="0">
                  <a:solidFill>
                    <a:schemeClr val="accent1"/>
                  </a:solidFill>
                </a:rPr>
                <a:t>2.  </a:t>
              </a:r>
            </a:p>
            <a:p>
              <a:pPr marL="209550" lvl="1" indent="-207963" defTabSz="1019175" eaLnBrk="0" hangingPunct="0">
                <a:buClr>
                  <a:schemeClr val="folHlink"/>
                </a:buClr>
                <a:buSzPct val="125000"/>
              </a:pPr>
              <a:endParaRPr lang="en-US" sz="2500" b="1" dirty="0" smtClean="0">
                <a:solidFill>
                  <a:schemeClr val="accent1"/>
                </a:solidFill>
              </a:endParaRPr>
            </a:p>
            <a:p>
              <a:pPr marL="209550" lvl="1" indent="-207963" defTabSz="1019175" eaLnBrk="0" hangingPunct="0">
                <a:buClr>
                  <a:schemeClr val="folHlink"/>
                </a:buClr>
                <a:buSzPct val="125000"/>
              </a:pPr>
              <a:endParaRPr lang="en-US" sz="2500" b="1" dirty="0" smtClean="0">
                <a:solidFill>
                  <a:schemeClr val="accent1"/>
                </a:solidFill>
              </a:endParaRPr>
            </a:p>
            <a:p>
              <a:pPr marL="209550" lvl="1" indent="-207963" defTabSz="1019175" eaLnBrk="0" hangingPunct="0">
                <a:buClr>
                  <a:schemeClr val="folHlink"/>
                </a:buClr>
                <a:buSzPct val="125000"/>
              </a:pPr>
              <a:r>
                <a:rPr lang="en-US" sz="2500" b="1" dirty="0" smtClean="0">
                  <a:solidFill>
                    <a:schemeClr val="accent1"/>
                  </a:solidFill>
                </a:rPr>
                <a:t>3. </a:t>
              </a:r>
            </a:p>
            <a:p>
              <a:pPr marL="209550" lvl="1" indent="-207963" defTabSz="1019175" eaLnBrk="0" hangingPunct="0">
                <a:buClr>
                  <a:schemeClr val="folHlink"/>
                </a:buClr>
                <a:buSzPct val="125000"/>
              </a:pPr>
              <a:endParaRPr lang="en-US" sz="2500" b="1" dirty="0" smtClean="0">
                <a:solidFill>
                  <a:schemeClr val="accent1"/>
                </a:solidFill>
              </a:endParaRPr>
            </a:p>
            <a:p>
              <a:pPr marL="209550" lvl="1" indent="-207963" defTabSz="1019175" eaLnBrk="0" hangingPunct="0">
                <a:buClr>
                  <a:schemeClr val="folHlink"/>
                </a:buClr>
                <a:buSzPct val="125000"/>
              </a:pPr>
              <a:endParaRPr lang="en-US" sz="2500" b="1" dirty="0" smtClean="0">
                <a:solidFill>
                  <a:schemeClr val="accent1"/>
                </a:solidFill>
              </a:endParaRPr>
            </a:p>
            <a:p>
              <a:pPr marL="209550" lvl="1" indent="-207963" defTabSz="1019175" eaLnBrk="0" hangingPunct="0">
                <a:buClr>
                  <a:schemeClr val="folHlink"/>
                </a:buClr>
                <a:buSzPct val="125000"/>
              </a:pPr>
              <a:r>
                <a:rPr lang="en-US" sz="2500" b="1" dirty="0" smtClean="0">
                  <a:solidFill>
                    <a:schemeClr val="accent1"/>
                  </a:solidFill>
                </a:rPr>
                <a:t>4. </a:t>
              </a:r>
            </a:p>
          </p:txBody>
        </p:sp>
      </p:grpSp>
    </p:spTree>
    <p:custDataLst>
      <p:tags r:id="rId1"/>
    </p:custDataLst>
  </p:cSld>
  <p:clrMapOvr>
    <a:masterClrMapping/>
  </p:clrMapOvr>
  <p:transition xmlns:p14="http://schemas.microsoft.com/office/powerpoint/2010/main">
    <p:cut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Rectangle 2"/>
          <p:cNvSpPr>
            <a:spLocks noGrp="1" noChangeArrowheads="1"/>
          </p:cNvSpPr>
          <p:nvPr>
            <p:ph type="title"/>
          </p:nvPr>
        </p:nvSpPr>
        <p:spPr>
          <a:xfrm>
            <a:off x="762000" y="838200"/>
            <a:ext cx="7696200" cy="288925"/>
          </a:xfrm>
        </p:spPr>
        <p:txBody>
          <a:bodyPr/>
          <a:lstStyle/>
          <a:p>
            <a:pPr lvl="1"/>
            <a:r>
              <a:rPr lang="en-US" sz="2300" dirty="0" smtClean="0"/>
              <a:t>Wrap-up…</a:t>
            </a:r>
          </a:p>
        </p:txBody>
      </p:sp>
      <p:sp>
        <p:nvSpPr>
          <p:cNvPr id="56" name="TextBox 55"/>
          <p:cNvSpPr txBox="1"/>
          <p:nvPr/>
        </p:nvSpPr>
        <p:spPr>
          <a:xfrm rot="233865">
            <a:off x="5286126" y="655755"/>
            <a:ext cx="808076" cy="307777"/>
          </a:xfrm>
          <a:prstGeom prst="rect">
            <a:avLst/>
          </a:prstGeom>
          <a:noFill/>
          <a:ln w="5080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Values</a:t>
            </a:r>
          </a:p>
        </p:txBody>
      </p:sp>
      <p:sp>
        <p:nvSpPr>
          <p:cNvPr id="93186" name="AutoShape 2" descr="data:image/jpg;base64,/9j/4AAQSkZJRgABAQAAAQABAAD/2wCEAAkGBhQSDhQQEA8QEBQUEBkQFA4QFhEQFBAQFBwWFRUQFRQYHycqFxkjGRUTHy8iIycsLCwsFR4xQTIqNSYrLSkBCQoKBQUFDQUFDSkYEhgpKSkpKSkpKSkpKSkpKSkpKSkpKSkpKSkpKSkpKSkpKSkpKSkpKSkpKSkpKSkpKSkpKf/AABEIAMwA9wMBIgACEQEDEQH/xAAbAAACAwEBAQAAAAAAAAAAAAAABAMFBgECB//EAEkQAAIBAQMEDQkIAQMDBQEAAAECAwAEERIFEyFTBhQVIzEzUVJzkZKT0iIyQVRxsbLR0wc0QmFiY3Kis0OBoSR0dRY1NsHCCP/EABQBAQAAAAAAAAAAAAAAAAAAAAD/xAAUEQEAAAAAAAAAAAAAAAAAAAAA/9oADAMBAAIRAxEAPwD7PLaXzhRERrkViWcp5xYXABTzf+a5nJtXF3j/AE67H94foo/ilpqgUzk2ri7x/p0ZybVxd4/06booFM5Nq4u8f6dGcm1cXeP9Om6KBTOTauLvH+nRnJtXF3j/AE6booFM5Nq4u8f6dGcm1cXeP9Om6KBTOTauLvH+nRnJtXF3j/TrL5O+0FpctS5KNjwtCpkefPBlzVyFXC4LyTnI9HovOnRV3YNl1kmWV4bVFKsK4pShLZpdOluTzT1Ggdzk2ri7x/p0ZybVxd4/06rZNnNhWBLQ1tgELsUSYtcjuvnKG4CR/wDR5KnynssslnEZtFqihEq4o84cOcGjzb+HhGj86BvOTauLvH+nRnJtXF3j/TqOfL0CWiOzPMizSrijhN+J106VHpHknqqHZRsijsNjltc2IpGAcK6WdmIVUH5liBQNZybVxd4/06M5Nq4u8f6dYXYr9sAtNshslpsEtia0xCazu7iRZkYMVbzVuDBWuOm8i6qu1f8A9ARLLI0eT55bLHMIXtiuo8psWErGRpvCORew0D0UH07OTauLvH+nRnJtXF3j/TrH7LPtjsNiiVlfbUsiJIlniNzZuRQ6u7Eb2CjAgHSbxo9Ij2WfbNZLEqLcbROwUtZYmF8IYBt8e64EXjRw/kKDaZybVxd4/wBOjOTauLvH+nTQNdoFM5Nq4u8f6dGcm1cXeP8ATpuigUzk2ri7x/p0ZybVxd4/06booFM5Nq4u8f6dGcm1cXeP9Om6KBTOTauLvH+nRnJtXF3j/TpuigWs1oYuyOiqQqterFwQxYelRd5v/NFcj+8P0UfxS0UBH94foo/ilpqlY/vD9FH8UtNUBRRRQFFFFAUUUUBRRRQfJtjv/wA5yh/2Q+Gx1P8AZMdGWf8AyU3/AOqNhViefZPlDKcattUxbWSZlZBLKogVgmIDEAYXvI/Llq+H2evFPa3sVuazJbWMk0LRJNhka/FJC5YYCcR4Qw6hQfNNkf8A8Lyb/wB2nvtNfTPtY2ObcyTMqm6WAbbhN9xDxXkge1cS+0jkrxsk+zGO05Ns+TYp2s8NnZXBwCV3KBlUkkgaS7k6NJPopj/0VO00882UM7JLYmsKnMIiQxu2JmCB/KY/meTkuoEfs0tj5QUZXnW5mgWxwryLHcbTLcDozk4YfxiWtXsgyLBarM0FrQPCbnZWZox5BxAllIIAIv4fRSOwfYtudYlsYmz6ozFHKCMgOS5U3E3+UW06OGvOz/ItoteTZrLZJEiklATHIWVc2SM4pKgnSt44PTQfKNg9lGU9kBtkCFLFk6IQ2cHEd7jVo7OgLabz5chvvI4Dw18/yd/7Ba//ACFl+C019m+znYRlbJ7xwSTZP2mHd5o4gxlkLKbjiMYvN+AcPAt1Ze0fYdlBBNYoJrIbJLaUnz0hkEqiISKgKheG6Q3gX3kDSNNAl9p2S4l2O5JtCwxrK8MKvMqqHdRZxcGYC9rsK3X8F1TfbrkyJLPk2ZIY0kkRs5KiqrS3JBdjYDyrrzw8tbn7QvsymteS7HYbJJENq4VxTlkxIkebB8lW0nQaj+077NrTlGz2KKzvZ1azKwcys6gkrGow4UN+lDw3eig+lrwV2uCu0BRRRQFFFFAUUUUBRRRQKx/eH6KP4paKI/vD9FH8UtFBE8xW0PdG771HpUxi7ypecwqXbjery9cHjoRv+ofoo/ilpLZRY89Y5IlMt7YQDCY8YuZTiukIV1F17KfOUMum+6gd22/q8vXB46NuN6vL1weOvncOxm1XPnLLGpkzUxWJohEjR2aeJogpbyTnGW4C8DH51wJGm2FZJls2ejm0qrJFBKSpaSzIt8eO4+egbNknhzd/poL7bjery9cHjo243q8vXB46ZxjlFUmzHJW2rC9mUm+Ro1xIQGjGcQmUEkaVALcuigstuN6vL1weOjbjery9cHjr53FsZtmcd7TDtgSSvJLEjxYZJpbJCiugZh5CTCdBfcRjVrvSHtj2xy1w2yB5TnUJU2h2dTdaYbKIBaUBN5Ehd1bRffGhu0mg223G9Xl64PHRtxvV5euDx0xjHKK7jHKKBbbbery9cHjo22/q8vXB46zuXtjQmyhFKIUZTZ5xLKSuic7W2uTeb9Gae64XDTzjfl//AEraTHZcVlJzUMEMqE2aQsYbLaonNzOAymWWIAk+jFoABoPpW3G9Xl64PHRtxvV5euDx1NEwwjgGgaL77vyvr3jHKKBbbjery9cHjo22/q8vXB46yez3Y5NaZFay6C9knsssiuEZL83PAwvIv32HBo9ExqqtOxm0GYytZsRlsV7qu12CWyV7TK6B2cFcBmj8pb8QQLwUH0Hbjery9cHjo243q8vXB46zmwTJMsAkzq5lGis6LAWVrpo4gs81ykhcTYRoOnNk+nTrMY5RQLbcb1eXrg8dG239Xl64PHXu1QJIhjkCurC5kPAw5DyivmE2wu07TjWODNynJ1viluaC9rRNm1gQnHdeVQjEOD0kUH0zbjery9cHjo243q8vXB46yWxzIU0dsxPFgRbRaZw+KMqUnWEIoAN+IYXBF1wwfmL9tjHKKBbbjery9cHjo22/q8vXB46YxjlFfPdkWxSeaXKEixK2cezmAERFnwizrI6uXGFQElBQ3Yr7+Sg3W3G9Xl64PHRtxvV5euDx1kth+RZ4bYzzxYFFmkhxhozGzm1TyjNqGJSMxyIVU+aLlvJWtrjHKKBfbjery9cHjo243q8vXB46ZxjlFZjZ3k2SeFBAhkdHMixnNtDI2BkzVoVmXyGDsMS6UNzeigvttt6vL1weOjbjery9cHjr59lLY5aZXtDtZseeezWlAXibMyJaFE0VzPdi2qkIJGgiMjhYg/RbNCkaLGgCqihFUcCqouAH+1AvZZS08l6Mm9x6GwG/TLzWNFSRH/qH6KP4paKCM2ZGtD40Rroo/OUNd5UvLU250Wpj7C/KvMf3h+ij+KWmqBfc6LUx9hflRudFqY+wvypiigrrZk+O+Peo+NH4F5G/KmdzotTH2F+Vebbwx9KPc1NUC+50Wpj7C/Kjc6LUx9hflTFFAq+TorjvMXBzF+VQ2DJ8eZj3qPi1/AvIPyp5+A+yocn8TH0a+4UBudFqY+wvyo3Oi1MfYX5UxRQL7nRamPsL8qVsmT48cu9R8aPwLq4vyqypSx+fN0o/xxUHvc6LUx9hflRudFqY+wvypiigX3Oi1MfYX5UtJk+PPoM1H5j/AIF5Y/yqxpWXj4/4P746D1udFqY+wvyo3Oi1MfYX5UxRQL7nRamPsL8qWyjk+MQvvUfBzF+VWNK5T4l/ZQLSmBbQlnMK45EaRd6GHCmENe911/lDRw03udFqY+wvypa15NdrXDOsiKsSupjKMzPnMN5DhgFuwj8J9NWNAvudFqY+wvyrm50Wpj7C/KmaKCpgssawu+11kIkluREjLNdI9yi+4dZAr3kzMzxCRYFXynQo6IGSSNmjdDdeLwysLwSDdoJFdzLvZpEhlEMjPKFlK5zAxkfysN4vu9tS5GsBhgWIlDhvF8augN5JvON3JY33lixJJJ9NBLudFqY+wvyo3Oi1MfYX5UxRQJWaBVncIqrvUfmgLfpl5KK9x/eH6KP4paKAj+8P0UfxS01Ve9mDWhyS4uiTzXkT8UvoUi+oMmzQzhs29ovRgrJI1rhdSQGF6SEG4ggg3XUFvRSu5y86XvZ/FRucvOl72fxUBbeGPpR7mpqqy2ZPW+PypeNA42fkb9Vcvhz+1s7Jnc0Zs3nbReIwQuI+Vo0kDTw6eQ0FpRSu5y86XvZ/FRucvOl72fxUDD8B9lQ5P4mPo19wrw+TluPlS8Gtn8VVrSwwwQmRrR5YVFWM2yZmbAXICR4j5qseD0UF7RSi5PUi/FN/vLOP+MVd3OXnS97P4qBqlLH583Sj/HFXdzl50vez+KkM1HGJ5JJJFRJLyxln0DNxcjaT/wA0FzRSFmsySIHU2gAi8B3tUTf7o5BH+4qXc5edL3s/ioGqVl4+P+D++Ojc5edL3s/ipaTJ655Bil8x/wDVn5Y/1UFnRVPHaIWtG18VqElzMA+3UVlQqGZZGuVgC68BPnCntzl50vez+KgapXKfEv7KNzl50vez+Klso5PUQucUvBrZ/FQWdFU9qtMEcqxPLMHbDoD2pgucYpHjcG5MTgquIi8i4U9ucvOl72fxUDVcpbc5edL3s/io3OXnS97P4qAyd5h6WX/I9NVTJHFFA8skkqqskhLZ2c6BI40ANeSdAuGkk1PYFimjzkbzFbyumS0oyspKsrKzAqQQRcRQWVFK7nLzpe9n8VG5y86XvZ/FQEf3h+ij+KWio7LAFnkALHe4/OZ39MvOJurtB6Xj5LuHNJdfy3y0lkDJskbTySiNDNKJc1E7zKpwqrNnHVSSSOC64AC7009H94foo/ilpqgKKKKBW28MfSj3NVbZ9jWC37aWWQqyTY43IN8kpgII8m/CFhu0nRhQDQKsrbwx9KPc1NUBRRRQeX4D7KoMsZJe0WKJI0jZwgKSSSSwmBzGUEyNGpJYYjovF950ir9+A+yocn8TH0a+4UEsSkKATiIABY6MRHpr3RRQFUeVcmG0Q2iJSt+fjkAYsqsYhZ5QjFdIDYMJI0gG/TV5Slj8+bpR/jioIcgWB4bOI5CCcbsFVmdY0d2dIVZgCyopCgkDzeADQLGiigKVl4+P+D++OmqVl4+P+D++OghsuTmFpltEhUllWKIC/e4VGI33/iaRmJu9Cx8lWFFFAUrlPiX9lNUrlPiX9lBTZY2OSS22O0KUAXM3MWdWjzUrSSDNgXTB1KqMZGAriGmtHRRQFFFFBVS2ITWWWIqHxPLcpZovLEjlTnFBKEMAcQBIuvr1seyU0EJV2xO8rzOcTP5TknDiYAtcMIvuF919w4Azk7zD0sv+R6aoCiiigVj+8P0UfxS0UR/eH6KP4paKCJoS1oe6R03qPQojN/lS85TUu1G18vVD4KE49+ij+KWsFbYGay3CK1OBugIQ8dqZ1tkkoexS+WMQOAvhkOhb+EGg3u1G18vVD4KNqNr5eqHwUyvBprtBWWyytfHv8vGj0Q8jfopnaja+Xqh8FFt4Y+lHuaqdyBb7ViFpwtYogWUWrDiUzYhEyi4NhePRGcRJ5RQXG1G18vVD4KNqNr5eqHwUpsVJ3PswYOrCzRqyyK6OHVQrBlYAg3g8NWtAo9ka47/LwckPgqGwWVszHv8ALxa+iHkH6KffgPsrPZe+4QECYkTWV7oRM5uWSJnLLECSuAOSCLtHsoLnaja+Xqh8FG1G18vVD4KpMlopynM6QyQ4Y2jYmKZBanLIzTNIVwsFuCppJ8qT8N1+loFdqNr5eqHwUrZLK2Obf5eNHoh1cX6KtKrZLsFpxY7sRvzecx3ZqPzc35V/8dNAxtRtfL1Q+Cjaja+Xqh8FZGzw4hkwiGXPpHCJC0FoSQRqjKwM7ACNVbGWQ6X8kaL1v3FArtRtfL1Q+ClpLK2fTf5fMf0Q8sf6Ks6Vl4+P+D++OgNqNr5eqHwUbUbXy9UPgrP2mKZrZa0s+cUvHZ/LlNpjjuUy55YZSrBWwsnmaAWvuvvqz2IxOuTrMsqlHWzorIS5KkKBccQBvuuvvHDfw8NA7tRtfL1Q+Clso2Vsy+/y8HJD4Ks6VynxL+ygNqNr5eqHwUbUbXy9UPgqpyyP+vg4+42edGZFndFxBMN4UFQ2hrr9Po9NR7BYM3Z3jCAIkgRJhDJZWtCiOO+V45NOLFiUn04KC62o2vl6ofBRtRtfL1Q+CmqKCssFlbAd/l42T0Q6x/0UztRtfL1Q+CoobsxJixXY5r8GPFdjkvw4PKvu4MOnk01jbAJg1gYxO+CyWSNY54J2Ky42jtjlzdmZEQI2JxewW4X3m8NvtRtfL1Q+Cjaja+Xqh8FNUUCNliKzyXuz73HpbALtMvNArte4/vD9FH8UtFAR/eH6KP4paapBse2HwYOKjvxYudLyVLv37X96Bqild+/a/vRv37X96AtvDH0o9zU1VbbM7fHxXGjn8jUxv37X96Bqild+/a/vRv37X96Bh+A+yocn8TH0a+4V4fO3HiuD9dQ2DO5mPiuLXn8goLGild+/a/vRv37X96BqlLH583Sj/HFXd+/a/vS1kzuObiuNHP1cVBZ0Urvv7X96N+/a/vQNUrLx8f8AB/fHRv37X96XlzufTivMfn8sdBZUUrv37X96N+/a/vQNUrlPiX9lG/ftf3pfKOdzL8VwfroLKild+/a/vRv37X96Bqild+/a/vRv37X96Ayf5h6WX/I9NVWZPzuA8VxsnP1j0zvv7X96Bqild+/a/vRv37X96Aj+8P0UfxS0VHZcWfkx4eKjuw38svLXaD2nHv0UfxS1lpbbJJY2C2yQzm3TWWF4jEuJzI6pjUKb1jjUuRw4YzWpj+8P0UfxS1LFZEXzY0XTi8lVGm66/R6btFB7QXAC8m4XXm68/mbq9UUUCtt4Y+lHuas3l/K8iS2tEtAF0FkMaEoubaaaSJ/KuJQMAgLkHBeGuN1x0lt4Y+lHuapGsaEsTGhLLhYlVJZToKk+kXAaPyoK3Ypa2ksitIzMwkljJYqxGblkQJjGh8IULi/Fhv8ATVxXmOMKoVQFAFwVQAABwAAcAr1QeX4D7KosrWxorHZ3WbNb/ZUYnB5cbyRI8flcF6s3Bp0VevwH2UrZbOrwRh0Vxm1NzAML8N19x9poKLI1un3RkhlZ2GCaRhigeNFEqLZcAQ4o74i4IcC9ozdfcTWpqOOBVLFVVSxxMVABZuC83cJqSgKqLbaESK0vLM0CBwWlQgMowQ6F0HSeAAC8k6NN1W9JWeIM0ysoYGUXqwBB3uLhBoMfZMrziWIPaWLA2YLBihfOx2iedJBIUG+OkKLeVNwaFjwE372oEsUYKlY4wUvCkKowBvOC6NF/puqegKVl4+P+D++OmqVl4+P+D++OgzNuykwktpgtrYYrNIWLtC4jtS3FViUjQEW9WvvF7qNLK12oyfNjhje8NijVsQuN5IGnRQbBHexzUd7C5jhW9hw3E3adIHVU0cYUBVAUDQFAAAHIAKD1SuU+Jf2U1SuU+Jf2UFRlu2XW2COO0sj3h5IS0YjFm8oM7qwvLMblW433reNCvXvYjazJHK4naeIzbw8jI7mLAl7EqB5LOJGW/ThYcAIAuJLIjMGaNGYcDMqkj06CeCuwWVEvCIiXm8hFC3nlN1BLRRRQVjzKllleSUwopmLTAgGNQ8l7gkG672Vm0yhIIrLIbW+I2tUzbSQs+1pZykayRBd8coVQ6QU0t5RU4tZYkBjYMAQZZQQdIIzj6CK9pk+JSpWKMFb8JCqCuLhwm7Rf+VAxRRRQKx/eH6KP4paKI/vD9FH8UtFBE0rC0PhjL71HpvUXeVLy1Ltl9Se0leWYCWQsbgIUJOkXC+a81hJbfM1ikksUkkkJnzoAtDPPCiiERxMzksodhJIy33gMF0XtcG92xJqD2ko2xJqD2kpkV2grbZaHvj3k8aPxJyNTG2X1J7SUW3hj6Ue5qymW7Sj2u0Rx202ZkszJK0k8qrnHERQpFjGBUQEl0w8Zwk47g1e2H1J7SUbYk1B7SUnsVtOOyI1x8+RQxklnEgV3USrJISzIwAYXngYXXi41bUCj2h7jvJ4OclQ2C0PmY95PFr+JOQU+/AfZWW2U2pFsESGVoZJFCQyiWSzrHKU46RlIBVBe2Fr7yAACSKDQ7Yk1J7SUbYk1B7SVnNjmUXa3zLI2cLGYkB5f+njilVYFaInCokiZXVgAThY+VebtbQK7Yk1B7SUtZLQ+ObeTxo/Emriqzqkynao44LU85cRhxizbPG58iEBVZSCCSQOEDTpIF9BY7ZfUntJRtiTUHtJWXyVAZGsaraJZGVTPLLFaJ5IhCjMI7OSGwynGwTEwJZYHv03VsqBXbEmoPaSl5LQ+fTeT5j/iTljqypWXj4/4P746A2y+pPaSjbEmpPaSsTlnKKma0Zi0sgWSOKVJJ5rjJn487IVxXwQKt8ZZbgc4dFygnVbFJmawws5ctg0s5LFriQGDHS6kAFWOkrcTpJoHNsSag9pKXyjaHzL7yeDnJVlSuU+Jf2UBth9Se0lG2H1J7SVQ7IrSu3YIY7QYJyMeJpXWPNnGqpmS2GV3fRdcSApN4IW/mwSWRklxPnIwyKkmee1q8gRc80czgYlLXcGgHFwG8AL/AGxJqD2ko2xJqD2kpqigrMn2h8B3k8bJ+JNY9M7ZfUntJS+NBZpDK5RMcuNwzR4Vzj3tjUgr7QRdWIsVukvjBnlJEsYsuGWZ0nvtjraMBJ3+MQZsXvfcl5Fw00G/2xJqD2ko2xJqD2kpqigRssjGeTEmDeo9F4N+mXkrte4/vD9FH8UtFAR/eH6KP4paapB7SFtD3hzfFH5qSP8Ail9Kg1LuivNl7qfw0DVFK7orzZe6n8NG6K82Xup/DQFt4Y+lHuamqrLZlBb4/Jl40Hip+Rv00zuivNl7qfw0DVFK7orzZe6n8NG6K82Xup/DQMPwH2VDk/iY+jX3CvD5RW4+TLwaqfw1DYMoLmY/Jl4tf9KfkH6aCxopXdFebL3U/ho3RXmy91P4aBqlLH583Sj/ABxV3dFebL3U/hpWyZQXHL5MvGj/AEp9XF+mgtKKV3RXmy91P4aN0V5svdT+GgapWXj4/wCD++OjdFebL3U/hpaTKC59Dhl8x/8ASn5Y/wBNBZ0UruivNl7qfw0borzZe6n8NA1SuU+Jf2UborzZe6n8NLZRygphcYZeDVT+Ggs6KV3RXmy91P4aN0V5svdT+GgaopXdFebL3U/ho3RXmy91P4aAyf5h6WX/ACPTVVtitoVSCso3yQ8VNwM7EHzeQimN0V5svdT+GgaopXdFebL3U/ho3RXmy91P4aAj+8P0UfxS0VHZZw08hAYb3H5yunpl5wF9doPace/RR++Ws2mVLQglRpsTRZQs0V80ceNrPO8KMRmiFAYu5U3EgC4i/SNIovncHSM0guPp0y0uuxuyiPNCyWfN487m82mHOAXB7rvOAAAPoAHJQWIrtFFArbeGPpR7mpqlbbwx9KPc1NUBRRRQeX4D7KhyfxMfRr7hUz8B9lQ5P4mPo19woGKKKKApSx+fN0o/xxU3Slj8+bpR/jioG6KKKApWXj4/4P746apWXj4/4P746BqiiigKVynxL+ymqVynxL+ygaoqqyjbLQryCOHEqwl0IXEWkANy3Y1v03DDovvvxClLLb7aSMdniUZ3Cbr783jhGIeVzHmOnV8A4CGgorPPly2AkDJZIBcBs/HpCC8NddwPwL+fDcNNRTZatocFbBemZDmMkFhKTpjx4gDcLuBeXhoNNRWbbLNtJI2jm1uUh8SzkG/SMAZMRuI9IAuJvPBXVy5bMRG5puvOEmVV0KwAv0HhGn/jTw0GjorO2fLdsJIbJ5QXMQ2NTdcGwrd+I4govvA0k8FxMliyra2mVZLEEjbCMQkDFD5RZjo0i7ALtGkNpN4oLSP7w/RR/FLRRH94foo/ilooIzaUW0PjdVvijuxELf5UvLU26MWuj7a/OpytcwDkFBDujFro+2vzo3Ri10fbX51NgHIKMA5BQIWy3x3x77HxoPnryN+dM7oxa6Ptr86nwDkFcwDkFBDujFro+2vzo3Ri10fbX51NgHIKMA5BQLvlCK477Hwc9fnUNgyhHmY99j4tfxLyD86ewDkFGAcgoId0YtdH21+dG6MWuj7a/OpsA5BRgHIKCHdGLXR9tfnStkt8eOXfY+NH4l1cX51YYByCu4ByCgg3Ri10fbX50boxa6Ptr86mwDkFGAcgoId0YtdH21+dLSW+PPoc7H5j/jXlT86fwDkFdwDkFBBujFro+2vzo3Ri10fbX51NgHIKMA5BQQ7oxa6Ptr86Wyjb4zC4EsfBz1+dP4ByCu4ByCgg3Ri1sfbX50boxa6Ptr86mwDkFGAcgoId0YtdH21+dG6MWtj7a/OpsA5BRgHIKCHdGLXR9tfnRujFrY+2vzqbAOQUYByCgh3Ri1sfbX50boxa6Ptr86mwDkFGAcgoFLNOrTuVZW3uPzSGu0y8lFOAUUH/2Q=="/>
          <p:cNvSpPr>
            <a:spLocks noChangeAspect="1" noChangeArrowheads="1"/>
          </p:cNvSpPr>
          <p:nvPr/>
        </p:nvSpPr>
        <p:spPr bwMode="auto">
          <a:xfrm>
            <a:off x="4572000" y="-971550"/>
            <a:ext cx="2352675" cy="1943100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3188" name="AutoShape 4" descr="data:image/jpg;base64,/9j/4AAQSkZJRgABAQAAAQABAAD/2wCEAAkGBhQSDhQQEA8QEBQUEBkQFA4QFhEQFBAQFBwWFRUQFRQYHycqFxkjGRUTHy8iIycsLCwsFR4xQTIqNSYrLSkBCQoKBQUFDQUFDSkYEhgpKSkpKSkpKSkpKSkpKSkpKSkpKSkpKSkpKSkpKSkpKSkpKSkpKSkpKSkpKSkpKSkpKf/AABEIAMwA9wMBIgACEQEDEQH/xAAbAAACAwEBAQAAAAAAAAAAAAAABAMFBgECB//EAEkQAAIBAQMEDQkIAQMDBQEAAAECAwAEERIFEyFTBhQVIzEzUVJzkZKT0iIyQVRxsbLR0wc0QmFiY3Kis0OBoSR0dRY1NsHCCP/EABQBAQAAAAAAAAAAAAAAAAAAAAD/xAAUEQEAAAAAAAAAAAAAAAAAAAAA/9oADAMBAAIRAxEAPwD7PLaXzhRERrkViWcp5xYXABTzf+a5nJtXF3j/AE67H94foo/ilpqgUzk2ri7x/p0ZybVxd4/06booFM5Nq4u8f6dGcm1cXeP9Om6KBTOTauLvH+nRnJtXF3j/AE6booFM5Nq4u8f6dGcm1cXeP9Om6KBTOTauLvH+nRnJtXF3j/TrL5O+0FpctS5KNjwtCpkefPBlzVyFXC4LyTnI9HovOnRV3YNl1kmWV4bVFKsK4pShLZpdOluTzT1Ggdzk2ri7x/p0ZybVxd4/06rZNnNhWBLQ1tgELsUSYtcjuvnKG4CR/wDR5KnynssslnEZtFqihEq4o84cOcGjzb+HhGj86BvOTauLvH+nRnJtXF3j/TqOfL0CWiOzPMizSrijhN+J106VHpHknqqHZRsijsNjltc2IpGAcK6WdmIVUH5liBQNZybVxd4/06M5Nq4u8f6dYXYr9sAtNshslpsEtia0xCazu7iRZkYMVbzVuDBWuOm8i6qu1f8A9ARLLI0eT55bLHMIXtiuo8psWErGRpvCORew0D0UH07OTauLvH+nRnJtXF3j/TrH7LPtjsNiiVlfbUsiJIlniNzZuRQ6u7Eb2CjAgHSbxo9Ij2WfbNZLEqLcbROwUtZYmF8IYBt8e64EXjRw/kKDaZybVxd4/wBOjOTauLvH+nTQNdoFM5Nq4u8f6dGcm1cXeP8ATpuigUzk2ri7x/p0ZybVxd4/06booFM5Nq4u8f6dGcm1cXeP9Om6KBTOTauLvH+nRnJtXF3j/TpuigWs1oYuyOiqQqterFwQxYelRd5v/NFcj+8P0UfxS0UBH94foo/ilpqlY/vD9FH8UtNUBRRRQFFFFAUUUUBRRRQfJtjv/wA5yh/2Q+Gx1P8AZMdGWf8AyU3/AOqNhViefZPlDKcattUxbWSZlZBLKogVgmIDEAYXvI/Llq+H2evFPa3sVuazJbWMk0LRJNhka/FJC5YYCcR4Qw6hQfNNkf8A8Lyb/wB2nvtNfTPtY2ObcyTMqm6WAbbhN9xDxXkge1cS+0jkrxsk+zGO05Ns+TYp2s8NnZXBwCV3KBlUkkgaS7k6NJPopj/0VO00882UM7JLYmsKnMIiQxu2JmCB/KY/meTkuoEfs0tj5QUZXnW5mgWxwryLHcbTLcDozk4YfxiWtXsgyLBarM0FrQPCbnZWZox5BxAllIIAIv4fRSOwfYtudYlsYmz6ozFHKCMgOS5U3E3+UW06OGvOz/ItoteTZrLZJEiklATHIWVc2SM4pKgnSt44PTQfKNg9lGU9kBtkCFLFk6IQ2cHEd7jVo7OgLabz5chvvI4Dw18/yd/7Ba//ACFl+C019m+znYRlbJ7xwSTZP2mHd5o4gxlkLKbjiMYvN+AcPAt1Ze0fYdlBBNYoJrIbJLaUnz0hkEqiISKgKheG6Q3gX3kDSNNAl9p2S4l2O5JtCwxrK8MKvMqqHdRZxcGYC9rsK3X8F1TfbrkyJLPk2ZIY0kkRs5KiqrS3JBdjYDyrrzw8tbn7QvsymteS7HYbJJENq4VxTlkxIkebB8lW0nQaj+077NrTlGz2KKzvZ1azKwcys6gkrGow4UN+lDw3eig+lrwV2uCu0BRRRQFFFFAUUUUBRRRQKx/eH6KP4paKI/vD9FH8UtFBE8xW0PdG771HpUxi7ypecwqXbjery9cHjoRv+ofoo/ilpLZRY89Y5IlMt7YQDCY8YuZTiukIV1F17KfOUMum+6gd22/q8vXB46NuN6vL1weOvncOxm1XPnLLGpkzUxWJohEjR2aeJogpbyTnGW4C8DH51wJGm2FZJls2ejm0qrJFBKSpaSzIt8eO4+egbNknhzd/poL7bjery9cHjo243q8vXB46ZxjlFUmzHJW2rC9mUm+Ro1xIQGjGcQmUEkaVALcuigstuN6vL1weOjbjery9cHjr53FsZtmcd7TDtgSSvJLEjxYZJpbJCiugZh5CTCdBfcRjVrvSHtj2xy1w2yB5TnUJU2h2dTdaYbKIBaUBN5Ehd1bRffGhu0mg223G9Xl64PHRtxvV5euDx0xjHKK7jHKKBbbbery9cHjo22/q8vXB46zuXtjQmyhFKIUZTZ5xLKSuic7W2uTeb9Gae64XDTzjfl//AEraTHZcVlJzUMEMqE2aQsYbLaonNzOAymWWIAk+jFoABoPpW3G9Xl64PHRtxvV5euDx1NEwwjgGgaL77vyvr3jHKKBbbjery9cHjo22/q8vXB46yez3Y5NaZFay6C9knsssiuEZL83PAwvIv32HBo9ExqqtOxm0GYytZsRlsV7qu12CWyV7TK6B2cFcBmj8pb8QQLwUH0Hbjery9cHjo243q8vXB46zmwTJMsAkzq5lGis6LAWVrpo4gs81ykhcTYRoOnNk+nTrMY5RQLbcb1eXrg8dG239Xl64PHXu1QJIhjkCurC5kPAw5DyivmE2wu07TjWODNynJ1viluaC9rRNm1gQnHdeVQjEOD0kUH0zbjery9cHjo243q8vXB46yWxzIU0dsxPFgRbRaZw+KMqUnWEIoAN+IYXBF1wwfmL9tjHKKBbbjery9cHjo22/q8vXB46YxjlFfPdkWxSeaXKEixK2cezmAERFnwizrI6uXGFQElBQ3Yr7+Sg3W3G9Xl64PHRtxvV5euDx1kth+RZ4bYzzxYFFmkhxhozGzm1TyjNqGJSMxyIVU+aLlvJWtrjHKKBfbjery9cHjo243q8vXB46ZxjlFZjZ3k2SeFBAhkdHMixnNtDI2BkzVoVmXyGDsMS6UNzeigvttt6vL1weOjbjery9cHjr59lLY5aZXtDtZseeezWlAXibMyJaFE0VzPdi2qkIJGgiMjhYg/RbNCkaLGgCqihFUcCqouAH+1AvZZS08l6Mm9x6GwG/TLzWNFSRH/qH6KP4paKCM2ZGtD40Rroo/OUNd5UvLU250Wpj7C/KvMf3h+ij+KWmqBfc6LUx9hflRudFqY+wvypiigrrZk+O+Peo+NH4F5G/KmdzotTH2F+Vebbwx9KPc1NUC+50Wpj7C/Kjc6LUx9hflTFFAq+TorjvMXBzF+VQ2DJ8eZj3qPi1/AvIPyp5+A+yocn8TH0a+4UBudFqY+wvyo3Oi1MfYX5UxRQL7nRamPsL8qVsmT48cu9R8aPwLq4vyqypSx+fN0o/xxUHvc6LUx9hflRudFqY+wvypiigX3Oi1MfYX5UtJk+PPoM1H5j/AIF5Y/yqxpWXj4/4P746D1udFqY+wvyo3Oi1MfYX5UxRQL7nRamPsL8qWyjk+MQvvUfBzF+VWNK5T4l/ZQLSmBbQlnMK45EaRd6GHCmENe911/lDRw03udFqY+wvypa15NdrXDOsiKsSupjKMzPnMN5DhgFuwj8J9NWNAvudFqY+wvyrm50Wpj7C/KmaKCpgssawu+11kIkluREjLNdI9yi+4dZAr3kzMzxCRYFXynQo6IGSSNmjdDdeLwysLwSDdoJFdzLvZpEhlEMjPKFlK5zAxkfysN4vu9tS5GsBhgWIlDhvF8augN5JvON3JY33lixJJJ9NBLudFqY+wvyo3Oi1MfYX5UxRQJWaBVncIqrvUfmgLfpl5KK9x/eH6KP4paKAj+8P0UfxS01Ve9mDWhyS4uiTzXkT8UvoUi+oMmzQzhs29ovRgrJI1rhdSQGF6SEG4ggg3XUFvRSu5y86XvZ/FRucvOl72fxUBbeGPpR7mpqqy2ZPW+PypeNA42fkb9Vcvhz+1s7Jnc0Zs3nbReIwQuI+Vo0kDTw6eQ0FpRSu5y86XvZ/FRucvOl72fxUDD8B9lQ5P4mPo19wrw+TluPlS8Gtn8VVrSwwwQmRrR5YVFWM2yZmbAXICR4j5qseD0UF7RSi5PUi/FN/vLOP+MVd3OXnS97P4qBqlLH583Sj/HFXdzl50vez+KkM1HGJ5JJJFRJLyxln0DNxcjaT/wA0FzRSFmsySIHU2gAi8B3tUTf7o5BH+4qXc5edL3s/ioGqVl4+P+D++Ojc5edL3s/ipaTJ655Bil8x/wDVn5Y/1UFnRVPHaIWtG18VqElzMA+3UVlQqGZZGuVgC68BPnCntzl50vez+KgapXKfEv7KNzl50vez+Klso5PUQucUvBrZ/FQWdFU9qtMEcqxPLMHbDoD2pgucYpHjcG5MTgquIi8i4U9ucvOl72fxUDVcpbc5edL3s/io3OXnS97P4qAyd5h6WX/I9NVTJHFFA8skkqqskhLZ2c6BI40ANeSdAuGkk1PYFimjzkbzFbyumS0oyspKsrKzAqQQRcRQWVFK7nLzpe9n8VG5y86XvZ/FQEf3h+ij+KWio7LAFnkALHe4/OZ39MvOJurtB6Xj5LuHNJdfy3y0lkDJskbTySiNDNKJc1E7zKpwqrNnHVSSSOC64AC7009H94foo/ilpqgKKKKBW28MfSj3NVbZ9jWC37aWWQqyTY43IN8kpgII8m/CFhu0nRhQDQKsrbwx9KPc1NUBRRRQeX4D7KoMsZJe0WKJI0jZwgKSSSSwmBzGUEyNGpJYYjovF950ir9+A+yocn8TH0a+4UEsSkKATiIABY6MRHpr3RRQFUeVcmG0Q2iJSt+fjkAYsqsYhZ5QjFdIDYMJI0gG/TV5Slj8+bpR/jioIcgWB4bOI5CCcbsFVmdY0d2dIVZgCyopCgkDzeADQLGiigKVl4+P+D++OmqVl4+P+D++OghsuTmFpltEhUllWKIC/e4VGI33/iaRmJu9Cx8lWFFFAUrlPiX9lNUrlPiX9lBTZY2OSS22O0KUAXM3MWdWjzUrSSDNgXTB1KqMZGAriGmtHRRQFFFFBVS2ITWWWIqHxPLcpZovLEjlTnFBKEMAcQBIuvr1seyU0EJV2xO8rzOcTP5TknDiYAtcMIvuF919w4Azk7zD0sv+R6aoCiiigVj+8P0UfxS0UR/eH6KP4paKCJoS1oe6R03qPQojN/lS85TUu1G18vVD4KE49+ij+KWsFbYGay3CK1OBugIQ8dqZ1tkkoexS+WMQOAvhkOhb+EGg3u1G18vVD4KNqNr5eqHwUyvBprtBWWyytfHv8vGj0Q8jfopnaja+Xqh8FFt4Y+lHuaqdyBb7ViFpwtYogWUWrDiUzYhEyi4NhePRGcRJ5RQXG1G18vVD4KNqNr5eqHwUpsVJ3PswYOrCzRqyyK6OHVQrBlYAg3g8NWtAo9ka47/LwckPgqGwWVszHv8ALxa+iHkH6KffgPsrPZe+4QECYkTWV7oRM5uWSJnLLECSuAOSCLtHsoLnaja+Xqh8FG1G18vVD4KpMlopynM6QyQ4Y2jYmKZBanLIzTNIVwsFuCppJ8qT8N1+loFdqNr5eqHwUrZLK2Obf5eNHoh1cX6KtKrZLsFpxY7sRvzecx3ZqPzc35V/8dNAxtRtfL1Q+Cjaja+Xqh8FZGzw4hkwiGXPpHCJC0FoSQRqjKwM7ACNVbGWQ6X8kaL1v3FArtRtfL1Q+ClpLK2fTf5fMf0Q8sf6Ks6Vl4+P+D++OgNqNr5eqHwUbUbXy9UPgrP2mKZrZa0s+cUvHZ/LlNpjjuUy55YZSrBWwsnmaAWvuvvqz2IxOuTrMsqlHWzorIS5KkKBccQBvuuvvHDfw8NA7tRtfL1Q+Clso2Vsy+/y8HJD4Ks6VynxL+ygNqNr5eqHwUbUbXy9UPgqpyyP+vg4+42edGZFndFxBMN4UFQ2hrr9Po9NR7BYM3Z3jCAIkgRJhDJZWtCiOO+V45NOLFiUn04KC62o2vl6ofBRtRtfL1Q+CmqKCssFlbAd/l42T0Q6x/0UztRtfL1Q+CoobsxJixXY5r8GPFdjkvw4PKvu4MOnk01jbAJg1gYxO+CyWSNY54J2Ky42jtjlzdmZEQI2JxewW4X3m8NvtRtfL1Q+Cjaja+Xqh8FNUUCNliKzyXuz73HpbALtMvNArte4/vD9FH8UtFAR/eH6KP4paapBse2HwYOKjvxYudLyVLv37X96Bqild+/a/vRv37X96AtvDH0o9zU1VbbM7fHxXGjn8jUxv37X96Bqild+/a/vRv37X96Bh+A+yocn8TH0a+4V4fO3HiuD9dQ2DO5mPiuLXn8goLGild+/a/vRv37X96BqlLH583Sj/HFXd+/a/vS1kzuObiuNHP1cVBZ0Urvv7X96N+/a/vQNUrLx8f8AB/fHRv37X96XlzufTivMfn8sdBZUUrv37X96N+/a/vQNUrlPiX9lG/ftf3pfKOdzL8VwfroLKild+/a/vRv37X96Bqild+/a/vRv37X96Ayf5h6WX/I9NVWZPzuA8VxsnP1j0zvv7X96Bqild+/a/vRv37X96Aj+8P0UfxS0VHZcWfkx4eKjuw38svLXaD2nHv0UfxS1lpbbJJY2C2yQzm3TWWF4jEuJzI6pjUKb1jjUuRw4YzWpj+8P0UfxS1LFZEXzY0XTi8lVGm66/R6btFB7QXAC8m4XXm68/mbq9UUUCtt4Y+lHuas3l/K8iS2tEtAF0FkMaEoubaaaSJ/KuJQMAgLkHBeGuN1x0lt4Y+lHuapGsaEsTGhLLhYlVJZToKk+kXAaPyoK3Ypa2ksitIzMwkljJYqxGblkQJjGh8IULi/Fhv8ATVxXmOMKoVQFAFwVQAABwAAcAr1QeX4D7KosrWxorHZ3WbNb/ZUYnB5cbyRI8flcF6s3Bp0VevwH2UrZbOrwRh0Vxm1NzAML8N19x9poKLI1un3RkhlZ2GCaRhigeNFEqLZcAQ4o74i4IcC9ozdfcTWpqOOBVLFVVSxxMVABZuC83cJqSgKqLbaESK0vLM0CBwWlQgMowQ6F0HSeAAC8k6NN1W9JWeIM0ysoYGUXqwBB3uLhBoMfZMrziWIPaWLA2YLBihfOx2iedJBIUG+OkKLeVNwaFjwE372oEsUYKlY4wUvCkKowBvOC6NF/puqegKVl4+P+D++OmqVl4+P+D++OgzNuykwktpgtrYYrNIWLtC4jtS3FViUjQEW9WvvF7qNLK12oyfNjhje8NijVsQuN5IGnRQbBHexzUd7C5jhW9hw3E3adIHVU0cYUBVAUDQFAAAHIAKD1SuU+Jf2U1SuU+Jf2UFRlu2XW2COO0sj3h5IS0YjFm8oM7qwvLMblW433reNCvXvYjazJHK4naeIzbw8jI7mLAl7EqB5LOJGW/ThYcAIAuJLIjMGaNGYcDMqkj06CeCuwWVEvCIiXm8hFC3nlN1BLRRRQVjzKllleSUwopmLTAgGNQ8l7gkG672Vm0yhIIrLIbW+I2tUzbSQs+1pZykayRBd8coVQ6QU0t5RU4tZYkBjYMAQZZQQdIIzj6CK9pk+JSpWKMFb8JCqCuLhwm7Rf+VAxRRRQKx/eH6KP4paKI/vD9FH8UtFBE0rC0PhjL71HpvUXeVLy1Ltl9Se0leWYCWQsbgIUJOkXC+a81hJbfM1ikksUkkkJnzoAtDPPCiiERxMzksodhJIy33gMF0XtcG92xJqD2ko2xJqD2kpkV2grbZaHvj3k8aPxJyNTG2X1J7SUW3hj6Ue5qymW7Sj2u0Rx202ZkszJK0k8qrnHERQpFjGBUQEl0w8Zwk47g1e2H1J7SUbYk1B7SUnsVtOOyI1x8+RQxklnEgV3USrJISzIwAYXngYXXi41bUCj2h7jvJ4OclQ2C0PmY95PFr+JOQU+/AfZWW2U2pFsESGVoZJFCQyiWSzrHKU46RlIBVBe2Fr7yAACSKDQ7Yk1J7SUbYk1B7SVnNjmUXa3zLI2cLGYkB5f+njilVYFaInCokiZXVgAThY+VebtbQK7Yk1B7SUtZLQ+ObeTxo/Emriqzqkynao44LU85cRhxizbPG58iEBVZSCCSQOEDTpIF9BY7ZfUntJRtiTUHtJWXyVAZGsaraJZGVTPLLFaJ5IhCjMI7OSGwynGwTEwJZYHv03VsqBXbEmoPaSl5LQ+fTeT5j/iTljqypWXj4/4P746A2y+pPaSjbEmpPaSsTlnKKma0Zi0sgWSOKVJJ5rjJn487IVxXwQKt8ZZbgc4dFygnVbFJmawws5ctg0s5LFriQGDHS6kAFWOkrcTpJoHNsSag9pKXyjaHzL7yeDnJVlSuU+Jf2UBth9Se0lG2H1J7SVQ7IrSu3YIY7QYJyMeJpXWPNnGqpmS2GV3fRdcSApN4IW/mwSWRklxPnIwyKkmee1q8gRc80czgYlLXcGgHFwG8AL/AGxJqD2ko2xJqD2kpqigrMn2h8B3k8bJ+JNY9M7ZfUntJS+NBZpDK5RMcuNwzR4Vzj3tjUgr7QRdWIsVukvjBnlJEsYsuGWZ0nvtjraMBJ3+MQZsXvfcl5Fw00G/2xJqD2ko2xJqD2kpqigRssjGeTEmDeo9F4N+mXkrte4/vD9FH8UtFAR/eH6KP4paapB7SFtD3hzfFH5qSP8Ail9Kg1LuivNl7qfw0DVFK7orzZe6n8NG6K82Xup/DQFt4Y+lHuamqrLZlBb4/Jl40Hip+Rv00zuivNl7qfw0DVFK7orzZe6n8NG6K82Xup/DQMPwH2VDk/iY+jX3CvD5RW4+TLwaqfw1DYMoLmY/Jl4tf9KfkH6aCxopXdFebL3U/ho3RXmy91P4aBqlLH583Sj/ABxV3dFebL3U/hpWyZQXHL5MvGj/AEp9XF+mgtKKV3RXmy91P4aN0V5svdT+GgapWXj4/wCD++OjdFebL3U/hpaTKC59Dhl8x/8ASn5Y/wBNBZ0UruivNl7qfw0borzZe6n8NA1SuU+Jf2UborzZe6n8NLZRygphcYZeDVT+Ggs6KV3RXmy91P4aN0V5svdT+GgaopXdFebL3U/ho3RXmy91P4aAyf5h6WX/ACPTVVtitoVSCso3yQ8VNwM7EHzeQimN0V5svdT+GgaopXdFebL3U/ho3RXmy91P4aAj+8P0UfxS0VHZZw08hAYb3H5yunpl5wF9doPace/RR++Ws2mVLQglRpsTRZQs0V80ceNrPO8KMRmiFAYu5U3EgC4i/SNIovncHSM0guPp0y0uuxuyiPNCyWfN487m82mHOAXB7rvOAAAPoAHJQWIrtFFArbeGPpR7mpqlbbwx9KPc1NUBRRRQeX4D7KhyfxMfRr7hUz8B9lQ5P4mPo19woGKKKKApSx+fN0o/xxU3Slj8+bpR/jioG6KKKApWXj4/4P746apWXj4/4P746BqiiigKVynxL+ymqVynxL+ygaoqqyjbLQryCOHEqwl0IXEWkANy3Y1v03DDovvvxClLLb7aSMdniUZ3Cbr783jhGIeVzHmOnV8A4CGgorPPly2AkDJZIBcBs/HpCC8NddwPwL+fDcNNRTZatocFbBemZDmMkFhKTpjx4gDcLuBeXhoNNRWbbLNtJI2jm1uUh8SzkG/SMAZMRuI9IAuJvPBXVy5bMRG5puvOEmVV0KwAv0HhGn/jTw0GjorO2fLdsJIbJ5QXMQ2NTdcGwrd+I4govvA0k8FxMliyra2mVZLEEjbCMQkDFD5RZjo0i7ALtGkNpN4oLSP7w/RR/FLRRH94foo/ilooIzaUW0PjdVvijuxELf5UvLU26MWuj7a/OpytcwDkFBDujFro+2vzo3Ri10fbX51NgHIKMA5BQIWy3x3x77HxoPnryN+dM7oxa6Ptr86nwDkFcwDkFBDujFro+2vzo3Ri10fbX51NgHIKMA5BQLvlCK477Hwc9fnUNgyhHmY99j4tfxLyD86ewDkFGAcgoId0YtdH21+dG6MWuj7a/OpsA5BRgHIKCHdGLXR9tfnStkt8eOXfY+NH4l1cX51YYByCu4ByCgg3Ri10fbX50boxa6Ptr86mwDkFGAcgoId0YtdH21+dLSW+PPoc7H5j/jXlT86fwDkFdwDkFBBujFro+2vzo3Ri10fbX51NgHIKMA5BQQ7oxa6Ptr86Wyjb4zC4EsfBz1+dP4ByCu4ByCgg3Ri1sfbX50boxa6Ptr86mwDkFGAcgoId0YtdH21+dG6MWtj7a/OpsA5BRgHIKCHdGLXR9tfnRujFrY+2vzqbAOQUYByCgh3Ri1sfbX50boxa6Ptr86mwDkFGAcgoFLNOrTuVZW3uPzSGu0y8lFOAUUH/2Q=="/>
          <p:cNvSpPr>
            <a:spLocks noChangeAspect="1" noChangeArrowheads="1"/>
          </p:cNvSpPr>
          <p:nvPr/>
        </p:nvSpPr>
        <p:spPr bwMode="auto">
          <a:xfrm>
            <a:off x="79375" y="-727075"/>
            <a:ext cx="1828800" cy="1504950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06498" name="Picture 2" descr="http://www.daviddarling.info/images/galactic_black_hole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828800" y="1447800"/>
            <a:ext cx="6477000" cy="4371977"/>
          </a:xfrm>
          <a:prstGeom prst="rect">
            <a:avLst/>
          </a:prstGeom>
          <a:noFill/>
          <a:ln w="25400">
            <a:solidFill>
              <a:schemeClr val="bg1">
                <a:lumMod val="50000"/>
              </a:schemeClr>
            </a:solidFill>
          </a:ln>
        </p:spPr>
      </p:pic>
      <p:sp>
        <p:nvSpPr>
          <p:cNvPr id="9" name="Rectangle 2"/>
          <p:cNvSpPr txBox="1">
            <a:spLocks noChangeArrowheads="1"/>
          </p:cNvSpPr>
          <p:nvPr/>
        </p:nvSpPr>
        <p:spPr bwMode="auto">
          <a:xfrm>
            <a:off x="3886200" y="6264275"/>
            <a:ext cx="5715000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marL="0" lvl="1" defTabSz="1019175" eaLnBrk="0" hangingPunct="0">
              <a:lnSpc>
                <a:spcPts val="2788"/>
              </a:lnSpc>
            </a:pPr>
            <a:endParaRPr lang="en-US" sz="2300" b="1" kern="0" dirty="0" smtClean="0">
              <a:ea typeface="LF_Kai" pitchFamily="2" charset="-122"/>
            </a:endParaRPr>
          </a:p>
          <a:p>
            <a:pPr marL="0" lvl="1" defTabSz="1019175" eaLnBrk="0" hangingPunct="0">
              <a:lnSpc>
                <a:spcPts val="2788"/>
              </a:lnSpc>
            </a:pPr>
            <a:r>
              <a:rPr lang="en-US" sz="2300" b="1" kern="0" dirty="0" smtClean="0">
                <a:ea typeface="LF_Kai" pitchFamily="2" charset="-122"/>
              </a:rPr>
              <a:t>Is this just going into the black hole?</a:t>
            </a:r>
            <a:endParaRPr kumimoji="0" lang="en-US" sz="2300" b="1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rebuchet MS" pitchFamily="34" charset="0"/>
              <a:ea typeface="LF_Kai" pitchFamily="2" charset="-122"/>
              <a:cs typeface="LF_Kai"/>
            </a:endParaRPr>
          </a:p>
        </p:txBody>
      </p:sp>
    </p:spTree>
    <p:custDataLst>
      <p:tags r:id="rId1"/>
    </p:custDataLst>
  </p:cSld>
  <p:clrMapOvr>
    <a:masterClrMapping/>
  </p:clrMapOvr>
  <p:transition xmlns:p14="http://schemas.microsoft.com/office/powerpoint/2010/main">
    <p:cut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Rectangle 2"/>
          <p:cNvSpPr>
            <a:spLocks noGrp="1" noChangeArrowheads="1"/>
          </p:cNvSpPr>
          <p:nvPr>
            <p:ph type="title"/>
          </p:nvPr>
        </p:nvSpPr>
        <p:spPr>
          <a:xfrm>
            <a:off x="762000" y="838200"/>
            <a:ext cx="7696200" cy="288925"/>
          </a:xfrm>
        </p:spPr>
        <p:txBody>
          <a:bodyPr/>
          <a:lstStyle/>
          <a:p>
            <a:pPr lvl="1"/>
            <a:r>
              <a:rPr lang="en-US" sz="2300" dirty="0" smtClean="0"/>
              <a:t>LDP Panel… </a:t>
            </a:r>
          </a:p>
        </p:txBody>
      </p:sp>
      <p:sp>
        <p:nvSpPr>
          <p:cNvPr id="56" name="TextBox 55"/>
          <p:cNvSpPr txBox="1"/>
          <p:nvPr/>
        </p:nvSpPr>
        <p:spPr>
          <a:xfrm rot="233865">
            <a:off x="5286126" y="655755"/>
            <a:ext cx="808076" cy="307777"/>
          </a:xfrm>
          <a:prstGeom prst="rect">
            <a:avLst/>
          </a:prstGeom>
          <a:noFill/>
          <a:ln w="5080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Values</a:t>
            </a:r>
          </a:p>
        </p:txBody>
      </p:sp>
      <p:sp>
        <p:nvSpPr>
          <p:cNvPr id="93186" name="AutoShape 2" descr="data:image/jpg;base64,/9j/4AAQSkZJRgABAQAAAQABAAD/2wCEAAkGBhQSDhQQEA8QEBQUEBkQFA4QFhEQFBAQFBwWFRUQFRQYHycqFxkjGRUTHy8iIycsLCwsFR4xQTIqNSYrLSkBCQoKBQUFDQUFDSkYEhgpKSkpKSkpKSkpKSkpKSkpKSkpKSkpKSkpKSkpKSkpKSkpKSkpKSkpKSkpKSkpKSkpKf/AABEIAMwA9wMBIgACEQEDEQH/xAAbAAACAwEBAQAAAAAAAAAAAAAABAMFBgECB//EAEkQAAIBAQMEDQkIAQMDBQEAAAECAwAEERIFEyFTBhQVIzEzUVJzkZKT0iIyQVRxsbLR0wc0QmFiY3Kis0OBoSR0dRY1NsHCCP/EABQBAQAAAAAAAAAAAAAAAAAAAAD/xAAUEQEAAAAAAAAAAAAAAAAAAAAA/9oADAMBAAIRAxEAPwD7PLaXzhRERrkViWcp5xYXABTzf+a5nJtXF3j/AE67H94foo/ilpqgUzk2ri7x/p0ZybVxd4/06booFM5Nq4u8f6dGcm1cXeP9Om6KBTOTauLvH+nRnJtXF3j/AE6booFM5Nq4u8f6dGcm1cXeP9Om6KBTOTauLvH+nRnJtXF3j/TrL5O+0FpctS5KNjwtCpkefPBlzVyFXC4LyTnI9HovOnRV3YNl1kmWV4bVFKsK4pShLZpdOluTzT1Ggdzk2ri7x/p0ZybVxd4/06rZNnNhWBLQ1tgELsUSYtcjuvnKG4CR/wDR5KnynssslnEZtFqihEq4o84cOcGjzb+HhGj86BvOTauLvH+nRnJtXF3j/TqOfL0CWiOzPMizSrijhN+J106VHpHknqqHZRsijsNjltc2IpGAcK6WdmIVUH5liBQNZybVxd4/06M5Nq4u8f6dYXYr9sAtNshslpsEtia0xCazu7iRZkYMVbzVuDBWuOm8i6qu1f8A9ARLLI0eT55bLHMIXtiuo8psWErGRpvCORew0D0UH07OTauLvH+nRnJtXF3j/TrH7LPtjsNiiVlfbUsiJIlniNzZuRQ6u7Eb2CjAgHSbxo9Ij2WfbNZLEqLcbROwUtZYmF8IYBt8e64EXjRw/kKDaZybVxd4/wBOjOTauLvH+nTQNdoFM5Nq4u8f6dGcm1cXeP8ATpuigUzk2ri7x/p0ZybVxd4/06booFM5Nq4u8f6dGcm1cXeP9Om6KBTOTauLvH+nRnJtXF3j/TpuigWs1oYuyOiqQqterFwQxYelRd5v/NFcj+8P0UfxS0UBH94foo/ilpqlY/vD9FH8UtNUBRRRQFFFFAUUUUBRRRQfJtjv/wA5yh/2Q+Gx1P8AZMdGWf8AyU3/AOqNhViefZPlDKcattUxbWSZlZBLKogVgmIDEAYXvI/Llq+H2evFPa3sVuazJbWMk0LRJNhka/FJC5YYCcR4Qw6hQfNNkf8A8Lyb/wB2nvtNfTPtY2ObcyTMqm6WAbbhN9xDxXkge1cS+0jkrxsk+zGO05Ns+TYp2s8NnZXBwCV3KBlUkkgaS7k6NJPopj/0VO00882UM7JLYmsKnMIiQxu2JmCB/KY/meTkuoEfs0tj5QUZXnW5mgWxwryLHcbTLcDozk4YfxiWtXsgyLBarM0FrQPCbnZWZox5BxAllIIAIv4fRSOwfYtudYlsYmz6ozFHKCMgOS5U3E3+UW06OGvOz/ItoteTZrLZJEiklATHIWVc2SM4pKgnSt44PTQfKNg9lGU9kBtkCFLFk6IQ2cHEd7jVo7OgLabz5chvvI4Dw18/yd/7Ba//ACFl+C019m+znYRlbJ7xwSTZP2mHd5o4gxlkLKbjiMYvN+AcPAt1Ze0fYdlBBNYoJrIbJLaUnz0hkEqiISKgKheG6Q3gX3kDSNNAl9p2S4l2O5JtCwxrK8MKvMqqHdRZxcGYC9rsK3X8F1TfbrkyJLPk2ZIY0kkRs5KiqrS3JBdjYDyrrzw8tbn7QvsymteS7HYbJJENq4VxTlkxIkebB8lW0nQaj+077NrTlGz2KKzvZ1azKwcys6gkrGow4UN+lDw3eig+lrwV2uCu0BRRRQFFFFAUUUUBRRRQKx/eH6KP4paKI/vD9FH8UtFBE8xW0PdG771HpUxi7ypecwqXbjery9cHjoRv+ofoo/ilpLZRY89Y5IlMt7YQDCY8YuZTiukIV1F17KfOUMum+6gd22/q8vXB46NuN6vL1weOvncOxm1XPnLLGpkzUxWJohEjR2aeJogpbyTnGW4C8DH51wJGm2FZJls2ejm0qrJFBKSpaSzIt8eO4+egbNknhzd/poL7bjery9cHjo243q8vXB46ZxjlFUmzHJW2rC9mUm+Ro1xIQGjGcQmUEkaVALcuigstuN6vL1weOjbjery9cHjr53FsZtmcd7TDtgSSvJLEjxYZJpbJCiugZh5CTCdBfcRjVrvSHtj2xy1w2yB5TnUJU2h2dTdaYbKIBaUBN5Ehd1bRffGhu0mg223G9Xl64PHRtxvV5euDx0xjHKK7jHKKBbbbery9cHjo22/q8vXB46zuXtjQmyhFKIUZTZ5xLKSuic7W2uTeb9Gae64XDTzjfl//AEraTHZcVlJzUMEMqE2aQsYbLaonNzOAymWWIAk+jFoABoPpW3G9Xl64PHRtxvV5euDx1NEwwjgGgaL77vyvr3jHKKBbbjery9cHjo22/q8vXB46yez3Y5NaZFay6C9knsssiuEZL83PAwvIv32HBo9ExqqtOxm0GYytZsRlsV7qu12CWyV7TK6B2cFcBmj8pb8QQLwUH0Hbjery9cHjo243q8vXB46zmwTJMsAkzq5lGis6LAWVrpo4gs81ykhcTYRoOnNk+nTrMY5RQLbcb1eXrg8dG239Xl64PHXu1QJIhjkCurC5kPAw5DyivmE2wu07TjWODNynJ1viluaC9rRNm1gQnHdeVQjEOD0kUH0zbjery9cHjo243q8vXB46yWxzIU0dsxPFgRbRaZw+KMqUnWEIoAN+IYXBF1wwfmL9tjHKKBbbjery9cHjo22/q8vXB46YxjlFfPdkWxSeaXKEixK2cezmAERFnwizrI6uXGFQElBQ3Yr7+Sg3W3G9Xl64PHRtxvV5euDx1kth+RZ4bYzzxYFFmkhxhozGzm1TyjNqGJSMxyIVU+aLlvJWtrjHKKBfbjery9cHjo243q8vXB46ZxjlFZjZ3k2SeFBAhkdHMixnNtDI2BkzVoVmXyGDsMS6UNzeigvttt6vL1weOjbjery9cHjr59lLY5aZXtDtZseeezWlAXibMyJaFE0VzPdi2qkIJGgiMjhYg/RbNCkaLGgCqihFUcCqouAH+1AvZZS08l6Mm9x6GwG/TLzWNFSRH/qH6KP4paKCM2ZGtD40Rroo/OUNd5UvLU250Wpj7C/KvMf3h+ij+KWmqBfc6LUx9hflRudFqY+wvypiigrrZk+O+Peo+NH4F5G/KmdzotTH2F+Vebbwx9KPc1NUC+50Wpj7C/Kjc6LUx9hflTFFAq+TorjvMXBzF+VQ2DJ8eZj3qPi1/AvIPyp5+A+yocn8TH0a+4UBudFqY+wvyo3Oi1MfYX5UxRQL7nRamPsL8qVsmT48cu9R8aPwLq4vyqypSx+fN0o/xxUHvc6LUx9hflRudFqY+wvypiigX3Oi1MfYX5UtJk+PPoM1H5j/AIF5Y/yqxpWXj4/4P746D1udFqY+wvyo3Oi1MfYX5UxRQL7nRamPsL8qWyjk+MQvvUfBzF+VWNK5T4l/ZQLSmBbQlnMK45EaRd6GHCmENe911/lDRw03udFqY+wvypa15NdrXDOsiKsSupjKMzPnMN5DhgFuwj8J9NWNAvudFqY+wvyrm50Wpj7C/KmaKCpgssawu+11kIkluREjLNdI9yi+4dZAr3kzMzxCRYFXynQo6IGSSNmjdDdeLwysLwSDdoJFdzLvZpEhlEMjPKFlK5zAxkfysN4vu9tS5GsBhgWIlDhvF8augN5JvON3JY33lixJJJ9NBLudFqY+wvyo3Oi1MfYX5UxRQJWaBVncIqrvUfmgLfpl5KK9x/eH6KP4paKAj+8P0UfxS01Ve9mDWhyS4uiTzXkT8UvoUi+oMmzQzhs29ovRgrJI1rhdSQGF6SEG4ggg3XUFvRSu5y86XvZ/FRucvOl72fxUBbeGPpR7mpqqy2ZPW+PypeNA42fkb9Vcvhz+1s7Jnc0Zs3nbReIwQuI+Vo0kDTw6eQ0FpRSu5y86XvZ/FRucvOl72fxUDD8B9lQ5P4mPo19wrw+TluPlS8Gtn8VVrSwwwQmRrR5YVFWM2yZmbAXICR4j5qseD0UF7RSi5PUi/FN/vLOP+MVd3OXnS97P4qBqlLH583Sj/HFXdzl50vez+KkM1HGJ5JJJFRJLyxln0DNxcjaT/wA0FzRSFmsySIHU2gAi8B3tUTf7o5BH+4qXc5edL3s/ioGqVl4+P+D++Ojc5edL3s/ipaTJ655Bil8x/wDVn5Y/1UFnRVPHaIWtG18VqElzMA+3UVlQqGZZGuVgC68BPnCntzl50vez+KgapXKfEv7KNzl50vez+Klso5PUQucUvBrZ/FQWdFU9qtMEcqxPLMHbDoD2pgucYpHjcG5MTgquIi8i4U9ucvOl72fxUDVcpbc5edL3s/io3OXnS97P4qAyd5h6WX/I9NVTJHFFA8skkqqskhLZ2c6BI40ANeSdAuGkk1PYFimjzkbzFbyumS0oyspKsrKzAqQQRcRQWVFK7nLzpe9n8VG5y86XvZ/FQEf3h+ij+KWio7LAFnkALHe4/OZ39MvOJurtB6Xj5LuHNJdfy3y0lkDJskbTySiNDNKJc1E7zKpwqrNnHVSSSOC64AC7009H94foo/ilpqgKKKKBW28MfSj3NVbZ9jWC37aWWQqyTY43IN8kpgII8m/CFhu0nRhQDQKsrbwx9KPc1NUBRRRQeX4D7KoMsZJe0WKJI0jZwgKSSSSwmBzGUEyNGpJYYjovF950ir9+A+yocn8TH0a+4UEsSkKATiIABY6MRHpr3RRQFUeVcmG0Q2iJSt+fjkAYsqsYhZ5QjFdIDYMJI0gG/TV5Slj8+bpR/jioIcgWB4bOI5CCcbsFVmdY0d2dIVZgCyopCgkDzeADQLGiigKVl4+P+D++OmqVl4+P+D++OghsuTmFpltEhUllWKIC/e4VGI33/iaRmJu9Cx8lWFFFAUrlPiX9lNUrlPiX9lBTZY2OSS22O0KUAXM3MWdWjzUrSSDNgXTB1KqMZGAriGmtHRRQFFFFBVS2ITWWWIqHxPLcpZovLEjlTnFBKEMAcQBIuvr1seyU0EJV2xO8rzOcTP5TknDiYAtcMIvuF919w4Azk7zD0sv+R6aoCiiigVj+8P0UfxS0UR/eH6KP4paKCJoS1oe6R03qPQojN/lS85TUu1G18vVD4KE49+ij+KWsFbYGay3CK1OBugIQ8dqZ1tkkoexS+WMQOAvhkOhb+EGg3u1G18vVD4KNqNr5eqHwUyvBprtBWWyytfHv8vGj0Q8jfopnaja+Xqh8FFt4Y+lHuaqdyBb7ViFpwtYogWUWrDiUzYhEyi4NhePRGcRJ5RQXG1G18vVD4KNqNr5eqHwUpsVJ3PswYOrCzRqyyK6OHVQrBlYAg3g8NWtAo9ka47/LwckPgqGwWVszHv8ALxa+iHkH6KffgPsrPZe+4QECYkTWV7oRM5uWSJnLLECSuAOSCLtHsoLnaja+Xqh8FG1G18vVD4KpMlopynM6QyQ4Y2jYmKZBanLIzTNIVwsFuCppJ8qT8N1+loFdqNr5eqHwUrZLK2Obf5eNHoh1cX6KtKrZLsFpxY7sRvzecx3ZqPzc35V/8dNAxtRtfL1Q+Cjaja+Xqh8FZGzw4hkwiGXPpHCJC0FoSQRqjKwM7ACNVbGWQ6X8kaL1v3FArtRtfL1Q+ClpLK2fTf5fMf0Q8sf6Ks6Vl4+P+D++OgNqNr5eqHwUbUbXy9UPgrP2mKZrZa0s+cUvHZ/LlNpjjuUy55YZSrBWwsnmaAWvuvvqz2IxOuTrMsqlHWzorIS5KkKBccQBvuuvvHDfw8NA7tRtfL1Q+Clso2Vsy+/y8HJD4Ks6VynxL+ygNqNr5eqHwUbUbXy9UPgqpyyP+vg4+42edGZFndFxBMN4UFQ2hrr9Po9NR7BYM3Z3jCAIkgRJhDJZWtCiOO+V45NOLFiUn04KC62o2vl6ofBRtRtfL1Q+CmqKCssFlbAd/l42T0Q6x/0UztRtfL1Q+CoobsxJixXY5r8GPFdjkvw4PKvu4MOnk01jbAJg1gYxO+CyWSNY54J2Ky42jtjlzdmZEQI2JxewW4X3m8NvtRtfL1Q+Cjaja+Xqh8FNUUCNliKzyXuz73HpbALtMvNArte4/vD9FH8UtFAR/eH6KP4paapBse2HwYOKjvxYudLyVLv37X96Bqild+/a/vRv37X96AtvDH0o9zU1VbbM7fHxXGjn8jUxv37X96Bqild+/a/vRv37X96Bh+A+yocn8TH0a+4V4fO3HiuD9dQ2DO5mPiuLXn8goLGild+/a/vRv37X96BqlLH583Sj/HFXd+/a/vS1kzuObiuNHP1cVBZ0Urvv7X96N+/a/vQNUrLx8f8AB/fHRv37X96XlzufTivMfn8sdBZUUrv37X96N+/a/vQNUrlPiX9lG/ftf3pfKOdzL8VwfroLKild+/a/vRv37X96Bqild+/a/vRv37X96Ayf5h6WX/I9NVWZPzuA8VxsnP1j0zvv7X96Bqild+/a/vRv37X96Aj+8P0UfxS0VHZcWfkx4eKjuw38svLXaD2nHv0UfxS1lpbbJJY2C2yQzm3TWWF4jEuJzI6pjUKb1jjUuRw4YzWpj+8P0UfxS1LFZEXzY0XTi8lVGm66/R6btFB7QXAC8m4XXm68/mbq9UUUCtt4Y+lHuas3l/K8iS2tEtAF0FkMaEoubaaaSJ/KuJQMAgLkHBeGuN1x0lt4Y+lHuapGsaEsTGhLLhYlVJZToKk+kXAaPyoK3Ypa2ksitIzMwkljJYqxGblkQJjGh8IULi/Fhv8ATVxXmOMKoVQFAFwVQAABwAAcAr1QeX4D7KosrWxorHZ3WbNb/ZUYnB5cbyRI8flcF6s3Bp0VevwH2UrZbOrwRh0Vxm1NzAML8N19x9poKLI1un3RkhlZ2GCaRhigeNFEqLZcAQ4o74i4IcC9ozdfcTWpqOOBVLFVVSxxMVABZuC83cJqSgKqLbaESK0vLM0CBwWlQgMowQ6F0HSeAAC8k6NN1W9JWeIM0ysoYGUXqwBB3uLhBoMfZMrziWIPaWLA2YLBihfOx2iedJBIUG+OkKLeVNwaFjwE372oEsUYKlY4wUvCkKowBvOC6NF/puqegKVl4+P+D++OmqVl4+P+D++OgzNuykwktpgtrYYrNIWLtC4jtS3FViUjQEW9WvvF7qNLK12oyfNjhje8NijVsQuN5IGnRQbBHexzUd7C5jhW9hw3E3adIHVU0cYUBVAUDQFAAAHIAKD1SuU+Jf2U1SuU+Jf2UFRlu2XW2COO0sj3h5IS0YjFm8oM7qwvLMblW433reNCvXvYjazJHK4naeIzbw8jI7mLAl7EqB5LOJGW/ThYcAIAuJLIjMGaNGYcDMqkj06CeCuwWVEvCIiXm8hFC3nlN1BLRRRQVjzKllleSUwopmLTAgGNQ8l7gkG672Vm0yhIIrLIbW+I2tUzbSQs+1pZykayRBd8coVQ6QU0t5RU4tZYkBjYMAQZZQQdIIzj6CK9pk+JSpWKMFb8JCqCuLhwm7Rf+VAxRRRQKx/eH6KP4paKI/vD9FH8UtFBE0rC0PhjL71HpvUXeVLy1Ltl9Se0leWYCWQsbgIUJOkXC+a81hJbfM1ikksUkkkJnzoAtDPPCiiERxMzksodhJIy33gMF0XtcG92xJqD2ko2xJqD2kpkV2grbZaHvj3k8aPxJyNTG2X1J7SUW3hj6Ue5qymW7Sj2u0Rx202ZkszJK0k8qrnHERQpFjGBUQEl0w8Zwk47g1e2H1J7SUbYk1B7SUnsVtOOyI1x8+RQxklnEgV3USrJISzIwAYXngYXXi41bUCj2h7jvJ4OclQ2C0PmY95PFr+JOQU+/AfZWW2U2pFsESGVoZJFCQyiWSzrHKU46RlIBVBe2Fr7yAACSKDQ7Yk1J7SUbYk1B7SVnNjmUXa3zLI2cLGYkB5f+njilVYFaInCokiZXVgAThY+VebtbQK7Yk1B7SUtZLQ+ObeTxo/Emriqzqkynao44LU85cRhxizbPG58iEBVZSCCSQOEDTpIF9BY7ZfUntJRtiTUHtJWXyVAZGsaraJZGVTPLLFaJ5IhCjMI7OSGwynGwTEwJZYHv03VsqBXbEmoPaSl5LQ+fTeT5j/iTljqypWXj4/4P746A2y+pPaSjbEmpPaSsTlnKKma0Zi0sgWSOKVJJ5rjJn487IVxXwQKt8ZZbgc4dFygnVbFJmawws5ctg0s5LFriQGDHS6kAFWOkrcTpJoHNsSag9pKXyjaHzL7yeDnJVlSuU+Jf2UBth9Se0lG2H1J7SVQ7IrSu3YIY7QYJyMeJpXWPNnGqpmS2GV3fRdcSApN4IW/mwSWRklxPnIwyKkmee1q8gRc80czgYlLXcGgHFwG8AL/AGxJqD2ko2xJqD2kpqigrMn2h8B3k8bJ+JNY9M7ZfUntJS+NBZpDK5RMcuNwzR4Vzj3tjUgr7QRdWIsVukvjBnlJEsYsuGWZ0nvtjraMBJ3+MQZsXvfcl5Fw00G/2xJqD2ko2xJqD2kpqigRssjGeTEmDeo9F4N+mXkrte4/vD9FH8UtFAR/eH6KP4paapB7SFtD3hzfFH5qSP8Ail9Kg1LuivNl7qfw0DVFK7orzZe6n8NG6K82Xup/DQFt4Y+lHuamqrLZlBb4/Jl40Hip+Rv00zuivNl7qfw0DVFK7orzZe6n8NG6K82Xup/DQMPwH2VDk/iY+jX3CvD5RW4+TLwaqfw1DYMoLmY/Jl4tf9KfkH6aCxopXdFebL3U/ho3RXmy91P4aBqlLH583Sj/ABxV3dFebL3U/hpWyZQXHL5MvGj/AEp9XF+mgtKKV3RXmy91P4aN0V5svdT+GgapWXj4/wCD++OjdFebL3U/hpaTKC59Dhl8x/8ASn5Y/wBNBZ0UruivNl7qfw0borzZe6n8NA1SuU+Jf2UborzZe6n8NLZRygphcYZeDVT+Ggs6KV3RXmy91P4aN0V5svdT+GgaopXdFebL3U/ho3RXmy91P4aAyf5h6WX/ACPTVVtitoVSCso3yQ8VNwM7EHzeQimN0V5svdT+GgaopXdFebL3U/ho3RXmy91P4aAj+8P0UfxS0VHZZw08hAYb3H5yunpl5wF9doPace/RR++Ws2mVLQglRpsTRZQs0V80ceNrPO8KMRmiFAYu5U3EgC4i/SNIovncHSM0guPp0y0uuxuyiPNCyWfN487m82mHOAXB7rvOAAAPoAHJQWIrtFFArbeGPpR7mpqlbbwx9KPc1NUBRRRQeX4D7KhyfxMfRr7hUz8B9lQ5P4mPo19woGKKKKApSx+fN0o/xxU3Slj8+bpR/jioG6KKKApWXj4/4P746apWXj4/4P746BqiiigKVynxL+ymqVynxL+ygaoqqyjbLQryCOHEqwl0IXEWkANy3Y1v03DDovvvxClLLb7aSMdniUZ3Cbr783jhGIeVzHmOnV8A4CGgorPPly2AkDJZIBcBs/HpCC8NddwPwL+fDcNNRTZatocFbBemZDmMkFhKTpjx4gDcLuBeXhoNNRWbbLNtJI2jm1uUh8SzkG/SMAZMRuI9IAuJvPBXVy5bMRG5puvOEmVV0KwAv0HhGn/jTw0GjorO2fLdsJIbJ5QXMQ2NTdcGwrd+I4govvA0k8FxMliyra2mVZLEEjbCMQkDFD5RZjo0i7ALtGkNpN4oLSP7w/RR/FLRRH94foo/ilooIzaUW0PjdVvijuxELf5UvLU26MWuj7a/OpytcwDkFBDujFro+2vzo3Ri10fbX51NgHIKMA5BQIWy3x3x77HxoPnryN+dM7oxa6Ptr86nwDkFcwDkFBDujFro+2vzo3Ri10fbX51NgHIKMA5BQLvlCK477Hwc9fnUNgyhHmY99j4tfxLyD86ewDkFGAcgoId0YtdH21+dG6MWuj7a/OpsA5BRgHIKCHdGLXR9tfnStkt8eOXfY+NH4l1cX51YYByCu4ByCgg3Ri10fbX50boxa6Ptr86mwDkFGAcgoId0YtdH21+dLSW+PPoc7H5j/jXlT86fwDkFdwDkFBBujFro+2vzo3Ri10fbX51NgHIKMA5BQQ7oxa6Ptr86Wyjb4zC4EsfBz1+dP4ByCu4ByCgg3Ri1sfbX50boxa6Ptr86mwDkFGAcgoId0YtdH21+dG6MWtj7a/OpsA5BRgHIKCHdGLXR9tfnRujFrY+2vzqbAOQUYByCgh3Ri1sfbX50boxa6Ptr86mwDkFGAcgoFLNOrTuVZW3uPzSGu0y8lFOAUUH/2Q=="/>
          <p:cNvSpPr>
            <a:spLocks noChangeAspect="1" noChangeArrowheads="1"/>
          </p:cNvSpPr>
          <p:nvPr/>
        </p:nvSpPr>
        <p:spPr bwMode="auto">
          <a:xfrm>
            <a:off x="4572000" y="-971550"/>
            <a:ext cx="2352675" cy="1943100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3188" name="AutoShape 4" descr="data:image/jpg;base64,/9j/4AAQSkZJRgABAQAAAQABAAD/2wCEAAkGBhQSDhQQEA8QEBQUEBkQFA4QFhEQFBAQFBwWFRUQFRQYHycqFxkjGRUTHy8iIycsLCwsFR4xQTIqNSYrLSkBCQoKBQUFDQUFDSkYEhgpKSkpKSkpKSkpKSkpKSkpKSkpKSkpKSkpKSkpKSkpKSkpKSkpKSkpKSkpKSkpKSkpKf/AABEIAMwA9wMBIgACEQEDEQH/xAAbAAACAwEBAQAAAAAAAAAAAAAABAMFBgECB//EAEkQAAIBAQMEDQkIAQMDBQEAAAECAwAEERIFEyFTBhQVIzEzUVJzkZKT0iIyQVRxsbLR0wc0QmFiY3Kis0OBoSR0dRY1NsHCCP/EABQBAQAAAAAAAAAAAAAAAAAAAAD/xAAUEQEAAAAAAAAAAAAAAAAAAAAA/9oADAMBAAIRAxEAPwD7PLaXzhRERrkViWcp5xYXABTzf+a5nJtXF3j/AE67H94foo/ilpqgUzk2ri7x/p0ZybVxd4/06booFM5Nq4u8f6dGcm1cXeP9Om6KBTOTauLvH+nRnJtXF3j/AE6booFM5Nq4u8f6dGcm1cXeP9Om6KBTOTauLvH+nRnJtXF3j/TrL5O+0FpctS5KNjwtCpkefPBlzVyFXC4LyTnI9HovOnRV3YNl1kmWV4bVFKsK4pShLZpdOluTzT1Ggdzk2ri7x/p0ZybVxd4/06rZNnNhWBLQ1tgELsUSYtcjuvnKG4CR/wDR5KnynssslnEZtFqihEq4o84cOcGjzb+HhGj86BvOTauLvH+nRnJtXF3j/TqOfL0CWiOzPMizSrijhN+J106VHpHknqqHZRsijsNjltc2IpGAcK6WdmIVUH5liBQNZybVxd4/06M5Nq4u8f6dYXYr9sAtNshslpsEtia0xCazu7iRZkYMVbzVuDBWuOm8i6qu1f8A9ARLLI0eT55bLHMIXtiuo8psWErGRpvCORew0D0UH07OTauLvH+nRnJtXF3j/TrH7LPtjsNiiVlfbUsiJIlniNzZuRQ6u7Eb2CjAgHSbxo9Ij2WfbNZLEqLcbROwUtZYmF8IYBt8e64EXjRw/kKDaZybVxd4/wBOjOTauLvH+nTQNdoFM5Nq4u8f6dGcm1cXeP8ATpuigUzk2ri7x/p0ZybVxd4/06booFM5Nq4u8f6dGcm1cXeP9Om6KBTOTauLvH+nRnJtXF3j/TpuigWs1oYuyOiqQqterFwQxYelRd5v/NFcj+8P0UfxS0UBH94foo/ilpqlY/vD9FH8UtNUBRRRQFFFFAUUUUBRRRQfJtjv/wA5yh/2Q+Gx1P8AZMdGWf8AyU3/AOqNhViefZPlDKcattUxbWSZlZBLKogVgmIDEAYXvI/Llq+H2evFPa3sVuazJbWMk0LRJNhka/FJC5YYCcR4Qw6hQfNNkf8A8Lyb/wB2nvtNfTPtY2ObcyTMqm6WAbbhN9xDxXkge1cS+0jkrxsk+zGO05Ns+TYp2s8NnZXBwCV3KBlUkkgaS7k6NJPopj/0VO00882UM7JLYmsKnMIiQxu2JmCB/KY/meTkuoEfs0tj5QUZXnW5mgWxwryLHcbTLcDozk4YfxiWtXsgyLBarM0FrQPCbnZWZox5BxAllIIAIv4fRSOwfYtudYlsYmz6ozFHKCMgOS5U3E3+UW06OGvOz/ItoteTZrLZJEiklATHIWVc2SM4pKgnSt44PTQfKNg9lGU9kBtkCFLFk6IQ2cHEd7jVo7OgLabz5chvvI4Dw18/yd/7Ba//ACFl+C019m+znYRlbJ7xwSTZP2mHd5o4gxlkLKbjiMYvN+AcPAt1Ze0fYdlBBNYoJrIbJLaUnz0hkEqiISKgKheG6Q3gX3kDSNNAl9p2S4l2O5JtCwxrK8MKvMqqHdRZxcGYC9rsK3X8F1TfbrkyJLPk2ZIY0kkRs5KiqrS3JBdjYDyrrzw8tbn7QvsymteS7HYbJJENq4VxTlkxIkebB8lW0nQaj+077NrTlGz2KKzvZ1azKwcys6gkrGow4UN+lDw3eig+lrwV2uCu0BRRRQFFFFAUUUUBRRRQKx/eH6KP4paKI/vD9FH8UtFBE8xW0PdG771HpUxi7ypecwqXbjery9cHjoRv+ofoo/ilpLZRY89Y5IlMt7YQDCY8YuZTiukIV1F17KfOUMum+6gd22/q8vXB46NuN6vL1weOvncOxm1XPnLLGpkzUxWJohEjR2aeJogpbyTnGW4C8DH51wJGm2FZJls2ejm0qrJFBKSpaSzIt8eO4+egbNknhzd/poL7bjery9cHjo243q8vXB46ZxjlFUmzHJW2rC9mUm+Ro1xIQGjGcQmUEkaVALcuigstuN6vL1weOjbjery9cHjr53FsZtmcd7TDtgSSvJLEjxYZJpbJCiugZh5CTCdBfcRjVrvSHtj2xy1w2yB5TnUJU2h2dTdaYbKIBaUBN5Ehd1bRffGhu0mg223G9Xl64PHRtxvV5euDx0xjHKK7jHKKBbbbery9cHjo22/q8vXB46zuXtjQmyhFKIUZTZ5xLKSuic7W2uTeb9Gae64XDTzjfl//AEraTHZcVlJzUMEMqE2aQsYbLaonNzOAymWWIAk+jFoABoPpW3G9Xl64PHRtxvV5euDx1NEwwjgGgaL77vyvr3jHKKBbbjery9cHjo22/q8vXB46yez3Y5NaZFay6C9knsssiuEZL83PAwvIv32HBo9ExqqtOxm0GYytZsRlsV7qu12CWyV7TK6B2cFcBmj8pb8QQLwUH0Hbjery9cHjo243q8vXB46zmwTJMsAkzq5lGis6LAWVrpo4gs81ykhcTYRoOnNk+nTrMY5RQLbcb1eXrg8dG239Xl64PHXu1QJIhjkCurC5kPAw5DyivmE2wu07TjWODNynJ1viluaC9rRNm1gQnHdeVQjEOD0kUH0zbjery9cHjo243q8vXB46yWxzIU0dsxPFgRbRaZw+KMqUnWEIoAN+IYXBF1wwfmL9tjHKKBbbjery9cHjo22/q8vXB46YxjlFfPdkWxSeaXKEixK2cezmAERFnwizrI6uXGFQElBQ3Yr7+Sg3W3G9Xl64PHRtxvV5euDx1kth+RZ4bYzzxYFFmkhxhozGzm1TyjNqGJSMxyIVU+aLlvJWtrjHKKBfbjery9cHjo243q8vXB46ZxjlFZjZ3k2SeFBAhkdHMixnNtDI2BkzVoVmXyGDsMS6UNzeigvttt6vL1weOjbjery9cHjr59lLY5aZXtDtZseeezWlAXibMyJaFE0VzPdi2qkIJGgiMjhYg/RbNCkaLGgCqihFUcCqouAH+1AvZZS08l6Mm9x6GwG/TLzWNFSRH/qH6KP4paKCM2ZGtD40Rroo/OUNd5UvLU250Wpj7C/KvMf3h+ij+KWmqBfc6LUx9hflRudFqY+wvypiigrrZk+O+Peo+NH4F5G/KmdzotTH2F+Vebbwx9KPc1NUC+50Wpj7C/Kjc6LUx9hflTFFAq+TorjvMXBzF+VQ2DJ8eZj3qPi1/AvIPyp5+A+yocn8TH0a+4UBudFqY+wvyo3Oi1MfYX5UxRQL7nRamPsL8qVsmT48cu9R8aPwLq4vyqypSx+fN0o/xxUHvc6LUx9hflRudFqY+wvypiigX3Oi1MfYX5UtJk+PPoM1H5j/AIF5Y/yqxpWXj4/4P746D1udFqY+wvyo3Oi1MfYX5UxRQL7nRamPsL8qWyjk+MQvvUfBzF+VWNK5T4l/ZQLSmBbQlnMK45EaRd6GHCmENe911/lDRw03udFqY+wvypa15NdrXDOsiKsSupjKMzPnMN5DhgFuwj8J9NWNAvudFqY+wvyrm50Wpj7C/KmaKCpgssawu+11kIkluREjLNdI9yi+4dZAr3kzMzxCRYFXynQo6IGSSNmjdDdeLwysLwSDdoJFdzLvZpEhlEMjPKFlK5zAxkfysN4vu9tS5GsBhgWIlDhvF8augN5JvON3JY33lixJJJ9NBLudFqY+wvyo3Oi1MfYX5UxRQJWaBVncIqrvUfmgLfpl5KK9x/eH6KP4paKAj+8P0UfxS01Ve9mDWhyS4uiTzXkT8UvoUi+oMmzQzhs29ovRgrJI1rhdSQGF6SEG4ggg3XUFvRSu5y86XvZ/FRucvOl72fxUBbeGPpR7mpqqy2ZPW+PypeNA42fkb9Vcvhz+1s7Jnc0Zs3nbReIwQuI+Vo0kDTw6eQ0FpRSu5y86XvZ/FRucvOl72fxUDD8B9lQ5P4mPo19wrw+TluPlS8Gtn8VVrSwwwQmRrR5YVFWM2yZmbAXICR4j5qseD0UF7RSi5PUi/FN/vLOP+MVd3OXnS97P4qBqlLH583Sj/HFXdzl50vez+KkM1HGJ5JJJFRJLyxln0DNxcjaT/wA0FzRSFmsySIHU2gAi8B3tUTf7o5BH+4qXc5edL3s/ioGqVl4+P+D++Ojc5edL3s/ipaTJ655Bil8x/wDVn5Y/1UFnRVPHaIWtG18VqElzMA+3UVlQqGZZGuVgC68BPnCntzl50vez+KgapXKfEv7KNzl50vez+Klso5PUQucUvBrZ/FQWdFU9qtMEcqxPLMHbDoD2pgucYpHjcG5MTgquIi8i4U9ucvOl72fxUDVcpbc5edL3s/io3OXnS97P4qAyd5h6WX/I9NVTJHFFA8skkqqskhLZ2c6BI40ANeSdAuGkk1PYFimjzkbzFbyumS0oyspKsrKzAqQQRcRQWVFK7nLzpe9n8VG5y86XvZ/FQEf3h+ij+KWio7LAFnkALHe4/OZ39MvOJurtB6Xj5LuHNJdfy3y0lkDJskbTySiNDNKJc1E7zKpwqrNnHVSSSOC64AC7009H94foo/ilpqgKKKKBW28MfSj3NVbZ9jWC37aWWQqyTY43IN8kpgII8m/CFhu0nRhQDQKsrbwx9KPc1NUBRRRQeX4D7KoMsZJe0WKJI0jZwgKSSSSwmBzGUEyNGpJYYjovF950ir9+A+yocn8TH0a+4UEsSkKATiIABY6MRHpr3RRQFUeVcmG0Q2iJSt+fjkAYsqsYhZ5QjFdIDYMJI0gG/TV5Slj8+bpR/jioIcgWB4bOI5CCcbsFVmdY0d2dIVZgCyopCgkDzeADQLGiigKVl4+P+D++OmqVl4+P+D++OghsuTmFpltEhUllWKIC/e4VGI33/iaRmJu9Cx8lWFFFAUrlPiX9lNUrlPiX9lBTZY2OSS22O0KUAXM3MWdWjzUrSSDNgXTB1KqMZGAriGmtHRRQFFFFBVS2ITWWWIqHxPLcpZovLEjlTnFBKEMAcQBIuvr1seyU0EJV2xO8rzOcTP5TknDiYAtcMIvuF919w4Azk7zD0sv+R6aoCiiigVj+8P0UfxS0UR/eH6KP4paKCJoS1oe6R03qPQojN/lS85TUu1G18vVD4KE49+ij+KWsFbYGay3CK1OBugIQ8dqZ1tkkoexS+WMQOAvhkOhb+EGg3u1G18vVD4KNqNr5eqHwUyvBprtBWWyytfHv8vGj0Q8jfopnaja+Xqh8FFt4Y+lHuaqdyBb7ViFpwtYogWUWrDiUzYhEyi4NhePRGcRJ5RQXG1G18vVD4KNqNr5eqHwUpsVJ3PswYOrCzRqyyK6OHVQrBlYAg3g8NWtAo9ka47/LwckPgqGwWVszHv8ALxa+iHkH6KffgPsrPZe+4QECYkTWV7oRM5uWSJnLLECSuAOSCLtHsoLnaja+Xqh8FG1G18vVD4KpMlopynM6QyQ4Y2jYmKZBanLIzTNIVwsFuCppJ8qT8N1+loFdqNr5eqHwUrZLK2Obf5eNHoh1cX6KtKrZLsFpxY7sRvzecx3ZqPzc35V/8dNAxtRtfL1Q+Cjaja+Xqh8FZGzw4hkwiGXPpHCJC0FoSQRqjKwM7ACNVbGWQ6X8kaL1v3FArtRtfL1Q+ClpLK2fTf5fMf0Q8sf6Ks6Vl4+P+D++OgNqNr5eqHwUbUbXy9UPgrP2mKZrZa0s+cUvHZ/LlNpjjuUy55YZSrBWwsnmaAWvuvvqz2IxOuTrMsqlHWzorIS5KkKBccQBvuuvvHDfw8NA7tRtfL1Q+Clso2Vsy+/y8HJD4Ks6VynxL+ygNqNr5eqHwUbUbXy9UPgqpyyP+vg4+42edGZFndFxBMN4UFQ2hrr9Po9NR7BYM3Z3jCAIkgRJhDJZWtCiOO+V45NOLFiUn04KC62o2vl6ofBRtRtfL1Q+CmqKCssFlbAd/l42T0Q6x/0UztRtfL1Q+CoobsxJixXY5r8GPFdjkvw4PKvu4MOnk01jbAJg1gYxO+CyWSNY54J2Ky42jtjlzdmZEQI2JxewW4X3m8NvtRtfL1Q+Cjaja+Xqh8FNUUCNliKzyXuz73HpbALtMvNArte4/vD9FH8UtFAR/eH6KP4paapBse2HwYOKjvxYudLyVLv37X96Bqild+/a/vRv37X96AtvDH0o9zU1VbbM7fHxXGjn8jUxv37X96Bqild+/a/vRv37X96Bh+A+yocn8TH0a+4V4fO3HiuD9dQ2DO5mPiuLXn8goLGild+/a/vRv37X96BqlLH583Sj/HFXd+/a/vS1kzuObiuNHP1cVBZ0Urvv7X96N+/a/vQNUrLx8f8AB/fHRv37X96XlzufTivMfn8sdBZUUrv37X96N+/a/vQNUrlPiX9lG/ftf3pfKOdzL8VwfroLKild+/a/vRv37X96Bqild+/a/vRv37X96Ayf5h6WX/I9NVWZPzuA8VxsnP1j0zvv7X96Bqild+/a/vRv37X96Aj+8P0UfxS0VHZcWfkx4eKjuw38svLXaD2nHv0UfxS1lpbbJJY2C2yQzm3TWWF4jEuJzI6pjUKb1jjUuRw4YzWpj+8P0UfxS1LFZEXzY0XTi8lVGm66/R6btFB7QXAC8m4XXm68/mbq9UUUCtt4Y+lHuas3l/K8iS2tEtAF0FkMaEoubaaaSJ/KuJQMAgLkHBeGuN1x0lt4Y+lHuapGsaEsTGhLLhYlVJZToKk+kXAaPyoK3Ypa2ksitIzMwkljJYqxGblkQJjGh8IULi/Fhv8ATVxXmOMKoVQFAFwVQAABwAAcAr1QeX4D7KosrWxorHZ3WbNb/ZUYnB5cbyRI8flcF6s3Bp0VevwH2UrZbOrwRh0Vxm1NzAML8N19x9poKLI1un3RkhlZ2GCaRhigeNFEqLZcAQ4o74i4IcC9ozdfcTWpqOOBVLFVVSxxMVABZuC83cJqSgKqLbaESK0vLM0CBwWlQgMowQ6F0HSeAAC8k6NN1W9JWeIM0ysoYGUXqwBB3uLhBoMfZMrziWIPaWLA2YLBihfOx2iedJBIUG+OkKLeVNwaFjwE372oEsUYKlY4wUvCkKowBvOC6NF/puqegKVl4+P+D++OmqVl4+P+D++OgzNuykwktpgtrYYrNIWLtC4jtS3FViUjQEW9WvvF7qNLK12oyfNjhje8NijVsQuN5IGnRQbBHexzUd7C5jhW9hw3E3adIHVU0cYUBVAUDQFAAAHIAKD1SuU+Jf2U1SuU+Jf2UFRlu2XW2COO0sj3h5IS0YjFm8oM7qwvLMblW433reNCvXvYjazJHK4naeIzbw8jI7mLAl7EqB5LOJGW/ThYcAIAuJLIjMGaNGYcDMqkj06CeCuwWVEvCIiXm8hFC3nlN1BLRRRQVjzKllleSUwopmLTAgGNQ8l7gkG672Vm0yhIIrLIbW+I2tUzbSQs+1pZykayRBd8coVQ6QU0t5RU4tZYkBjYMAQZZQQdIIzj6CK9pk+JSpWKMFb8JCqCuLhwm7Rf+VAxRRRQKx/eH6KP4paKI/vD9FH8UtFBE0rC0PhjL71HpvUXeVLy1Ltl9Se0leWYCWQsbgIUJOkXC+a81hJbfM1ikksUkkkJnzoAtDPPCiiERxMzksodhJIy33gMF0XtcG92xJqD2ko2xJqD2kpkV2grbZaHvj3k8aPxJyNTG2X1J7SUW3hj6Ue5qymW7Sj2u0Rx202ZkszJK0k8qrnHERQpFjGBUQEl0w8Zwk47g1e2H1J7SUbYk1B7SUnsVtOOyI1x8+RQxklnEgV3USrJISzIwAYXngYXXi41bUCj2h7jvJ4OclQ2C0PmY95PFr+JOQU+/AfZWW2U2pFsESGVoZJFCQyiWSzrHKU46RlIBVBe2Fr7yAACSKDQ7Yk1J7SUbYk1B7SVnNjmUXa3zLI2cLGYkB5f+njilVYFaInCokiZXVgAThY+VebtbQK7Yk1B7SUtZLQ+ObeTxo/Emriqzqkynao44LU85cRhxizbPG58iEBVZSCCSQOEDTpIF9BY7ZfUntJRtiTUHtJWXyVAZGsaraJZGVTPLLFaJ5IhCjMI7OSGwynGwTEwJZYHv03VsqBXbEmoPaSl5LQ+fTeT5j/iTljqypWXj4/4P746A2y+pPaSjbEmpPaSsTlnKKma0Zi0sgWSOKVJJ5rjJn487IVxXwQKt8ZZbgc4dFygnVbFJmawws5ctg0s5LFriQGDHS6kAFWOkrcTpJoHNsSag9pKXyjaHzL7yeDnJVlSuU+Jf2UBth9Se0lG2H1J7SVQ7IrSu3YIY7QYJyMeJpXWPNnGqpmS2GV3fRdcSApN4IW/mwSWRklxPnIwyKkmee1q8gRc80czgYlLXcGgHFwG8AL/AGxJqD2ko2xJqD2kpqigrMn2h8B3k8bJ+JNY9M7ZfUntJS+NBZpDK5RMcuNwzR4Vzj3tjUgr7QRdWIsVukvjBnlJEsYsuGWZ0nvtjraMBJ3+MQZsXvfcl5Fw00G/2xJqD2ko2xJqD2kpqigRssjGeTEmDeo9F4N+mXkrte4/vD9FH8UtFAR/eH6KP4paapB7SFtD3hzfFH5qSP8Ail9Kg1LuivNl7qfw0DVFK7orzZe6n8NG6K82Xup/DQFt4Y+lHuamqrLZlBb4/Jl40Hip+Rv00zuivNl7qfw0DVFK7orzZe6n8NG6K82Xup/DQMPwH2VDk/iY+jX3CvD5RW4+TLwaqfw1DYMoLmY/Jl4tf9KfkH6aCxopXdFebL3U/ho3RXmy91P4aBqlLH583Sj/ABxV3dFebL3U/hpWyZQXHL5MvGj/AEp9XF+mgtKKV3RXmy91P4aN0V5svdT+GgapWXj4/wCD++OjdFebL3U/hpaTKC59Dhl8x/8ASn5Y/wBNBZ0UruivNl7qfw0borzZe6n8NA1SuU+Jf2UborzZe6n8NLZRygphcYZeDVT+Ggs6KV3RXmy91P4aN0V5svdT+GgaopXdFebL3U/ho3RXmy91P4aAyf5h6WX/ACPTVVtitoVSCso3yQ8VNwM7EHzeQimN0V5svdT+GgaopXdFebL3U/ho3RXmy91P4aAj+8P0UfxS0VHZZw08hAYb3H5yunpl5wF9doPace/RR++Ws2mVLQglRpsTRZQs0V80ceNrPO8KMRmiFAYu5U3EgC4i/SNIovncHSM0guPp0y0uuxuyiPNCyWfN487m82mHOAXB7rvOAAAPoAHJQWIrtFFArbeGPpR7mpqlbbwx9KPc1NUBRRRQeX4D7KhyfxMfRr7hUz8B9lQ5P4mPo19woGKKKKApSx+fN0o/xxU3Slj8+bpR/jioG6KKKApWXj4/4P746apWXj4/4P746BqiiigKVynxL+ymqVynxL+ygaoqqyjbLQryCOHEqwl0IXEWkANy3Y1v03DDovvvxClLLb7aSMdniUZ3Cbr783jhGIeVzHmOnV8A4CGgorPPly2AkDJZIBcBs/HpCC8NddwPwL+fDcNNRTZatocFbBemZDmMkFhKTpjx4gDcLuBeXhoNNRWbbLNtJI2jm1uUh8SzkG/SMAZMRuI9IAuJvPBXVy5bMRG5puvOEmVV0KwAv0HhGn/jTw0GjorO2fLdsJIbJ5QXMQ2NTdcGwrd+I4govvA0k8FxMliyra2mVZLEEjbCMQkDFD5RZjo0i7ALtGkNpN4oLSP7w/RR/FLRRH94foo/ilooIzaUW0PjdVvijuxELf5UvLU26MWuj7a/OpytcwDkFBDujFro+2vzo3Ri10fbX51NgHIKMA5BQIWy3x3x77HxoPnryN+dM7oxa6Ptr86nwDkFcwDkFBDujFro+2vzo3Ri10fbX51NgHIKMA5BQLvlCK477Hwc9fnUNgyhHmY99j4tfxLyD86ewDkFGAcgoId0YtdH21+dG6MWuj7a/OpsA5BRgHIKCHdGLXR9tfnStkt8eOXfY+NH4l1cX51YYByCu4ByCgg3Ri10fbX50boxa6Ptr86mwDkFGAcgoId0YtdH21+dLSW+PPoc7H5j/jXlT86fwDkFdwDkFBBujFro+2vzo3Ri10fbX51NgHIKMA5BQQ7oxa6Ptr86Wyjb4zC4EsfBz1+dP4ByCu4ByCgg3Ri1sfbX50boxa6Ptr86mwDkFGAcgoId0YtdH21+dG6MWtj7a/OpsA5BRgHIKCHdGLXR9tfnRujFrY+2vzqbAOQUYByCgh3Ri1sfbX50boxa6Ptr86mwDkFGAcgoFLNOrTuVZW3uPzSGu0y8lFOAUUH/2Q=="/>
          <p:cNvSpPr>
            <a:spLocks noChangeAspect="1" noChangeArrowheads="1"/>
          </p:cNvSpPr>
          <p:nvPr/>
        </p:nvSpPr>
        <p:spPr bwMode="auto">
          <a:xfrm>
            <a:off x="79375" y="-727075"/>
            <a:ext cx="1828800" cy="1504950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" name="Rectangle 7"/>
          <p:cNvSpPr>
            <a:spLocks noChangeArrowheads="1"/>
          </p:cNvSpPr>
          <p:nvPr/>
        </p:nvSpPr>
        <p:spPr bwMode="gray">
          <a:xfrm>
            <a:off x="1600200" y="1447800"/>
            <a:ext cx="7086600" cy="518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9" tIns="36571" rIns="36571" bIns="36571"/>
          <a:lstStyle/>
          <a:p>
            <a:pPr marL="458788" lvl="1" indent="-457200" algn="just" defTabSz="1019175" eaLnBrk="0" hangingPunct="0">
              <a:buClr>
                <a:schemeClr val="folHlink"/>
              </a:buClr>
              <a:buSzPct val="125000"/>
              <a:buFont typeface="Wingdings" pitchFamily="2" charset="2"/>
              <a:buChar char="§"/>
            </a:pPr>
            <a:r>
              <a:rPr lang="en-US" sz="2600" dirty="0" smtClean="0">
                <a:solidFill>
                  <a:schemeClr val="bg2"/>
                </a:solidFill>
              </a:rPr>
              <a:t>Next week, </a:t>
            </a:r>
            <a:r>
              <a:rPr lang="en-US" sz="2600" dirty="0" err="1" smtClean="0">
                <a:solidFill>
                  <a:schemeClr val="bg2"/>
                </a:solidFill>
              </a:rPr>
              <a:t>LDP’ers</a:t>
            </a:r>
            <a:r>
              <a:rPr lang="en-US" sz="2600" dirty="0" smtClean="0">
                <a:solidFill>
                  <a:schemeClr val="bg2"/>
                </a:solidFill>
              </a:rPr>
              <a:t> will work on these case studies for a couple hours in small groups</a:t>
            </a:r>
          </a:p>
          <a:p>
            <a:pPr marL="458788" lvl="1" indent="-457200" algn="just" defTabSz="1019175" eaLnBrk="0" hangingPunct="0">
              <a:buClr>
                <a:schemeClr val="folHlink"/>
              </a:buClr>
              <a:buSzPct val="125000"/>
              <a:buFont typeface="Wingdings" pitchFamily="2" charset="2"/>
              <a:buChar char="§"/>
            </a:pPr>
            <a:endParaRPr lang="en-US" sz="2600" dirty="0" smtClean="0">
              <a:solidFill>
                <a:schemeClr val="bg2"/>
              </a:solidFill>
            </a:endParaRPr>
          </a:p>
          <a:p>
            <a:pPr marL="458788" lvl="1" indent="-457200" algn="just" defTabSz="1019175" eaLnBrk="0" hangingPunct="0">
              <a:buClr>
                <a:schemeClr val="folHlink"/>
              </a:buClr>
              <a:buSzPct val="125000"/>
              <a:buFont typeface="Wingdings" pitchFamily="2" charset="2"/>
              <a:buChar char="§"/>
            </a:pPr>
            <a:r>
              <a:rPr lang="en-US" sz="2600" dirty="0" smtClean="0">
                <a:solidFill>
                  <a:schemeClr val="bg2"/>
                </a:solidFill>
              </a:rPr>
              <a:t>Then they will do “present-backs” to OP leadership</a:t>
            </a:r>
          </a:p>
          <a:p>
            <a:pPr marL="458788" lvl="1" indent="-457200" algn="just" defTabSz="1019175" eaLnBrk="0" hangingPunct="0">
              <a:buClr>
                <a:schemeClr val="folHlink"/>
              </a:buClr>
              <a:buSzPct val="125000"/>
              <a:buFont typeface="Wingdings" pitchFamily="2" charset="2"/>
              <a:buChar char="§"/>
            </a:pPr>
            <a:endParaRPr lang="en-US" sz="2600" dirty="0" smtClean="0">
              <a:solidFill>
                <a:schemeClr val="bg2"/>
              </a:solidFill>
            </a:endParaRPr>
          </a:p>
          <a:p>
            <a:pPr marL="458788" lvl="1" indent="-457200" algn="just" defTabSz="1019175" eaLnBrk="0" hangingPunct="0">
              <a:buClr>
                <a:schemeClr val="folHlink"/>
              </a:buClr>
              <a:buSzPct val="125000"/>
              <a:buFont typeface="Wingdings" pitchFamily="2" charset="2"/>
              <a:buChar char="§"/>
            </a:pPr>
            <a:r>
              <a:rPr lang="en-US" sz="2600" dirty="0" smtClean="0">
                <a:solidFill>
                  <a:schemeClr val="bg2"/>
                </a:solidFill>
              </a:rPr>
              <a:t>Chance for you to see how they approach/solve your typical problems</a:t>
            </a:r>
          </a:p>
          <a:p>
            <a:pPr marL="458788" lvl="1" indent="-457200" algn="just" defTabSz="1019175" eaLnBrk="0" hangingPunct="0">
              <a:buClr>
                <a:schemeClr val="folHlink"/>
              </a:buClr>
              <a:buSzPct val="125000"/>
            </a:pPr>
            <a:endParaRPr lang="en-US" sz="2600" dirty="0" smtClean="0">
              <a:solidFill>
                <a:schemeClr val="bg2"/>
              </a:solidFill>
            </a:endParaRPr>
          </a:p>
          <a:p>
            <a:pPr marL="458788" lvl="1" indent="-457200" algn="just" defTabSz="1019175" eaLnBrk="0" hangingPunct="0">
              <a:buClr>
                <a:schemeClr val="folHlink"/>
              </a:buClr>
              <a:buSzPct val="125000"/>
            </a:pPr>
            <a:r>
              <a:rPr lang="en-US" sz="2400" b="1" dirty="0" smtClean="0">
                <a:solidFill>
                  <a:schemeClr val="bg2"/>
                </a:solidFill>
              </a:rPr>
              <a:t>LDP Panel Present-Backs:</a:t>
            </a:r>
          </a:p>
          <a:p>
            <a:pPr marL="458788" lvl="1" indent="-457200" algn="just" defTabSz="1019175" eaLnBrk="0" hangingPunct="0">
              <a:buClr>
                <a:schemeClr val="folHlink"/>
              </a:buClr>
              <a:buSzPct val="125000"/>
            </a:pPr>
            <a:r>
              <a:rPr lang="en-US" sz="2400" b="1" dirty="0" smtClean="0">
                <a:solidFill>
                  <a:schemeClr val="bg2"/>
                </a:solidFill>
              </a:rPr>
              <a:t>Thursday, July 28</a:t>
            </a:r>
          </a:p>
          <a:p>
            <a:pPr marL="458788" lvl="1" indent="-457200" algn="just" defTabSz="1019175" eaLnBrk="0" hangingPunct="0">
              <a:buClr>
                <a:schemeClr val="folHlink"/>
              </a:buClr>
              <a:buSzPct val="125000"/>
            </a:pPr>
            <a:r>
              <a:rPr lang="en-US" sz="2400" b="1" dirty="0" smtClean="0">
                <a:solidFill>
                  <a:schemeClr val="bg2"/>
                </a:solidFill>
              </a:rPr>
              <a:t>3:30 – 4:00 p.m.</a:t>
            </a:r>
          </a:p>
          <a:p>
            <a:pPr marL="458788" lvl="1" indent="-457200" algn="just" defTabSz="1019175" eaLnBrk="0" hangingPunct="0">
              <a:buClr>
                <a:schemeClr val="folHlink"/>
              </a:buClr>
              <a:buSzPct val="125000"/>
            </a:pPr>
            <a:r>
              <a:rPr lang="en-US" sz="2400" b="1" dirty="0" smtClean="0">
                <a:solidFill>
                  <a:schemeClr val="bg2"/>
                </a:solidFill>
              </a:rPr>
              <a:t>Franklin Lobby Conference Room</a:t>
            </a:r>
          </a:p>
        </p:txBody>
      </p:sp>
    </p:spTree>
    <p:custDataLst>
      <p:tags r:id="rId1"/>
    </p:custDataLst>
  </p:cSld>
  <p:clrMapOvr>
    <a:masterClrMapping/>
  </p:clrMapOvr>
  <p:transition xmlns:p14="http://schemas.microsoft.com/office/powerpoint/2010/main">
    <p:cut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29" name="Rectangle 2"/>
          <p:cNvSpPr>
            <a:spLocks noGrp="1" noChangeArrowheads="1"/>
          </p:cNvSpPr>
          <p:nvPr>
            <p:ph type="title"/>
          </p:nvPr>
        </p:nvSpPr>
        <p:spPr>
          <a:xfrm>
            <a:off x="762000" y="866775"/>
            <a:ext cx="7419975" cy="288925"/>
          </a:xfrm>
        </p:spPr>
        <p:txBody>
          <a:bodyPr/>
          <a:lstStyle/>
          <a:p>
            <a:r>
              <a:rPr lang="en-US" dirty="0" smtClean="0"/>
              <a:t>Agenda</a:t>
            </a:r>
            <a:endParaRPr lang="en-US" dirty="0" smtClean="0">
              <a:solidFill>
                <a:srgbClr val="FF0000"/>
              </a:solidFill>
            </a:endParaRPr>
          </a:p>
        </p:txBody>
      </p:sp>
      <p:graphicFrame>
        <p:nvGraphicFramePr>
          <p:cNvPr id="4" name="Group 47">
            <a:hlinkClick r:id="rId4"/>
          </p:cNvPr>
          <p:cNvGraphicFramePr>
            <a:graphicFrameLocks noGrp="1"/>
          </p:cNvGraphicFramePr>
          <p:nvPr/>
        </p:nvGraphicFramePr>
        <p:xfrm>
          <a:off x="1600200" y="1676400"/>
          <a:ext cx="7772400" cy="2935917"/>
        </p:xfrm>
        <a:graphic>
          <a:graphicData uri="http://schemas.openxmlformats.org/drawingml/2006/table">
            <a:tbl>
              <a:tblPr/>
              <a:tblGrid>
                <a:gridCol w="457200"/>
                <a:gridCol w="1447800"/>
                <a:gridCol w="5867400"/>
              </a:tblGrid>
              <a:tr h="112999">
                <a:tc>
                  <a:txBody>
                    <a:bodyPr/>
                    <a:lstStyle/>
                    <a:p>
                      <a:pPr marL="0" marR="0" lvl="0" indent="114300" algn="r" defTabSz="1019175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25000"/>
                        <a:buFont typeface="Wingdings" pitchFamily="2" charset="2"/>
                        <a:buNone/>
                        <a:tabLst/>
                      </a:pPr>
                      <a:endParaRPr kumimoji="0" lang="en-US" sz="2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pitchFamily="34" charset="0"/>
                      </a:endParaRPr>
                    </a:p>
                  </a:txBody>
                  <a:tcPr marL="0" marT="0" marB="18288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19175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25000"/>
                        <a:buFont typeface="Wingdings" pitchFamily="2" charset="2"/>
                        <a:buNone/>
                        <a:tabLst/>
                      </a:pPr>
                      <a:endParaRPr kumimoji="0" lang="en-US" sz="2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pitchFamily="34" charset="0"/>
                      </a:endParaRPr>
                    </a:p>
                  </a:txBody>
                  <a:tcPr marL="0" marR="21413" marT="0" marB="21413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19175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25000"/>
                        <a:buFont typeface="Wingdings" pitchFamily="2" charset="2"/>
                        <a:buNone/>
                        <a:tabLst/>
                        <a:defRPr/>
                      </a:pPr>
                      <a:endParaRPr kumimoji="0" lang="en-US" sz="2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rebuchet MS" pitchFamily="34" charset="0"/>
                        <a:ea typeface="+mn-ea"/>
                        <a:cs typeface="Arial" charset="0"/>
                      </a:endParaRPr>
                    </a:p>
                  </a:txBody>
                  <a:tcPr marL="0" marR="21413" marT="0" marB="21413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12999">
                <a:tc>
                  <a:txBody>
                    <a:bodyPr/>
                    <a:lstStyle/>
                    <a:p>
                      <a:pPr marL="0" marR="0" lvl="0" indent="0" algn="r" defTabSz="1019175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25000"/>
                        <a:buFont typeface="Wingdings" pitchFamily="2" charset="2"/>
                        <a:buNone/>
                        <a:tabLst/>
                      </a:pPr>
                      <a:endParaRPr kumimoji="0" lang="en-US" sz="2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Gulim" pitchFamily="34" charset="-127"/>
                        <a:cs typeface="Arial" pitchFamily="34" charset="0"/>
                      </a:endParaRPr>
                    </a:p>
                  </a:txBody>
                  <a:tcPr marL="0" marR="21413" marT="0" marB="21413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19175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25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Gulim" pitchFamily="34" charset="-127"/>
                          <a:cs typeface="Arial" pitchFamily="34" charset="0"/>
                        </a:rPr>
                        <a:t>2:00 – 2:15</a:t>
                      </a:r>
                    </a:p>
                  </a:txBody>
                  <a:tcPr marL="0" marR="21413" marT="0" marB="21413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19175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25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+mn-ea"/>
                          <a:cs typeface="Arial" charset="0"/>
                        </a:rPr>
                        <a:t>Welcome</a:t>
                      </a:r>
                    </a:p>
                  </a:txBody>
                  <a:tcPr marL="0" marR="21413" marT="0" marB="21413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12999">
                <a:tc>
                  <a:txBody>
                    <a:bodyPr/>
                    <a:lstStyle/>
                    <a:p>
                      <a:pPr marL="0" marR="0" lvl="0" indent="0" algn="r" defTabSz="1019175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25000"/>
                        <a:buFont typeface="Wingdings" pitchFamily="2" charset="2"/>
                        <a:buNone/>
                        <a:tabLst/>
                      </a:pPr>
                      <a:endParaRPr kumimoji="0" lang="en-US" sz="2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pitchFamily="34" charset="0"/>
                      </a:endParaRPr>
                    </a:p>
                  </a:txBody>
                  <a:tcPr marL="0" marR="21413" marT="0" marB="21413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19175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25000"/>
                        <a:buFont typeface="Wingdings" pitchFamily="2" charset="2"/>
                        <a:buNone/>
                        <a:tabLst/>
                      </a:pPr>
                      <a:endParaRPr kumimoji="0" lang="en-US" sz="2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pitchFamily="34" charset="0"/>
                      </a:endParaRPr>
                    </a:p>
                  </a:txBody>
                  <a:tcPr marL="0" marR="21413" marT="0" marB="21413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19175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25000"/>
                        <a:buFont typeface="Wingdings" pitchFamily="2" charset="2"/>
                        <a:buNone/>
                        <a:tabLst/>
                        <a:defRPr/>
                      </a:pPr>
                      <a:endParaRPr kumimoji="0" lang="en-US" sz="2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rebuchet MS" pitchFamily="34" charset="0"/>
                        <a:ea typeface="+mn-ea"/>
                        <a:cs typeface="Arial" charset="0"/>
                      </a:endParaRPr>
                    </a:p>
                  </a:txBody>
                  <a:tcPr marL="0" marR="21413" marT="0" marB="21413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12999">
                <a:tc>
                  <a:txBody>
                    <a:bodyPr/>
                    <a:lstStyle/>
                    <a:p>
                      <a:pPr marL="0" marR="0" lvl="0" indent="0" algn="r" defTabSz="1019175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25000"/>
                        <a:buFont typeface="Wingdings" pitchFamily="2" charset="2"/>
                        <a:buNone/>
                        <a:tabLst/>
                      </a:pPr>
                      <a:endParaRPr kumimoji="0" lang="en-US" sz="2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pitchFamily="34" charset="0"/>
                      </a:endParaRPr>
                    </a:p>
                  </a:txBody>
                  <a:tcPr marL="0" marR="21413" marT="0" marB="21413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19175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25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itchFamily="34" charset="0"/>
                        </a:rPr>
                        <a:t>2:15 – 3:00</a:t>
                      </a:r>
                    </a:p>
                  </a:txBody>
                  <a:tcPr marL="0" marR="21413" marT="0" marB="21413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19175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25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+mn-ea"/>
                          <a:cs typeface="Arial" charset="0"/>
                        </a:rPr>
                        <a:t>CFO Division’s Role in UCOP LDP</a:t>
                      </a:r>
                    </a:p>
                  </a:txBody>
                  <a:tcPr marL="0" marR="21413" marT="0" marB="21413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12999">
                <a:tc>
                  <a:txBody>
                    <a:bodyPr/>
                    <a:lstStyle/>
                    <a:p>
                      <a:pPr marL="0" marR="0" lvl="0" indent="0" algn="r" defTabSz="1019175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25000"/>
                        <a:buFont typeface="Wingdings" pitchFamily="2" charset="2"/>
                        <a:buNone/>
                        <a:tabLst/>
                      </a:pPr>
                      <a:endParaRPr kumimoji="0" lang="en-US" sz="2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pitchFamily="34" charset="0"/>
                      </a:endParaRPr>
                    </a:p>
                  </a:txBody>
                  <a:tcPr marL="0" marR="21413" marT="0" marB="21413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19175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25000"/>
                        <a:buFont typeface="Wingdings" pitchFamily="2" charset="2"/>
                        <a:buNone/>
                        <a:tabLst/>
                      </a:pPr>
                      <a:endParaRPr kumimoji="0" lang="en-US" sz="2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pitchFamily="34" charset="0"/>
                      </a:endParaRPr>
                    </a:p>
                  </a:txBody>
                  <a:tcPr marL="0" marR="21413" marT="0" marB="21413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19175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25000"/>
                        <a:buFont typeface="Wingdings" pitchFamily="2" charset="2"/>
                        <a:buNone/>
                        <a:tabLst/>
                        <a:defRPr/>
                      </a:pPr>
                      <a:endParaRPr kumimoji="0" lang="en-US" sz="2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rebuchet MS" pitchFamily="34" charset="0"/>
                        <a:ea typeface="+mn-ea"/>
                        <a:cs typeface="Arial" charset="0"/>
                      </a:endParaRPr>
                    </a:p>
                  </a:txBody>
                  <a:tcPr marL="0" marR="21413" marT="0" marB="21413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12999">
                <a:tc>
                  <a:txBody>
                    <a:bodyPr/>
                    <a:lstStyle/>
                    <a:p>
                      <a:pPr marL="0" marR="0" lvl="0" indent="0" algn="r" defTabSz="1019175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25000"/>
                        <a:buFont typeface="Wingdings" pitchFamily="2" charset="2"/>
                        <a:buNone/>
                        <a:tabLst/>
                      </a:pPr>
                      <a:endParaRPr kumimoji="0" lang="en-US" sz="2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pitchFamily="34" charset="0"/>
                      </a:endParaRPr>
                    </a:p>
                  </a:txBody>
                  <a:tcPr marL="0" marR="21413" marT="0" marB="21413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19175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25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itchFamily="34" charset="0"/>
                        </a:rPr>
                        <a:t>3:00 – 3:25</a:t>
                      </a:r>
                    </a:p>
                  </a:txBody>
                  <a:tcPr marL="0" marR="21413" marT="0" marB="21413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19175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25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+mn-ea"/>
                          <a:cs typeface="Arial" charset="0"/>
                        </a:rPr>
                        <a:t>CFO Division Customers Discussion </a:t>
                      </a:r>
                    </a:p>
                  </a:txBody>
                  <a:tcPr marL="0" marR="21413" marT="0" marB="21413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12999">
                <a:tc>
                  <a:txBody>
                    <a:bodyPr/>
                    <a:lstStyle/>
                    <a:p>
                      <a:pPr marL="0" marR="0" lvl="0" indent="0" algn="r" defTabSz="1019175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25000"/>
                        <a:buFont typeface="Wingdings" pitchFamily="2" charset="2"/>
                        <a:buNone/>
                        <a:tabLst/>
                      </a:pPr>
                      <a:endParaRPr kumimoji="0" lang="en-US" sz="2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pitchFamily="34" charset="0"/>
                      </a:endParaRPr>
                    </a:p>
                  </a:txBody>
                  <a:tcPr marL="0" marR="21413" marT="0" marB="21413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19175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25000"/>
                        <a:buFont typeface="Wingdings" pitchFamily="2" charset="2"/>
                        <a:buNone/>
                        <a:tabLst/>
                      </a:pPr>
                      <a:endParaRPr kumimoji="0" lang="en-US" sz="2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pitchFamily="34" charset="0"/>
                      </a:endParaRPr>
                    </a:p>
                  </a:txBody>
                  <a:tcPr marL="0" marR="21413" marT="0" marB="21413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19175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25000"/>
                        <a:buFont typeface="Wingdings" pitchFamily="2" charset="2"/>
                        <a:buNone/>
                        <a:tabLst/>
                        <a:defRPr/>
                      </a:pPr>
                      <a:endParaRPr kumimoji="0" lang="en-US" sz="2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rebuchet MS" pitchFamily="34" charset="0"/>
                        <a:ea typeface="+mn-ea"/>
                        <a:cs typeface="Arial" charset="0"/>
                      </a:endParaRPr>
                    </a:p>
                  </a:txBody>
                  <a:tcPr marL="0" marR="21413" marT="0" marB="21413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12999">
                <a:tc>
                  <a:txBody>
                    <a:bodyPr/>
                    <a:lstStyle/>
                    <a:p>
                      <a:pPr marL="0" marR="0" lvl="0" indent="0" algn="r" defTabSz="1019175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25000"/>
                        <a:buFont typeface="Wingdings" pitchFamily="2" charset="2"/>
                        <a:buNone/>
                        <a:tabLst/>
                      </a:pPr>
                      <a:endParaRPr kumimoji="0" lang="en-US" sz="2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pitchFamily="34" charset="0"/>
                      </a:endParaRPr>
                    </a:p>
                  </a:txBody>
                  <a:tcPr marL="0" marR="21413" marT="0" marB="21413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19175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25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itchFamily="34" charset="0"/>
                        </a:rPr>
                        <a:t>3:25 – 3:30</a:t>
                      </a:r>
                    </a:p>
                  </a:txBody>
                  <a:tcPr marL="0" marR="21413" marT="0" marB="21413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19175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25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+mn-ea"/>
                          <a:cs typeface="Arial" charset="0"/>
                        </a:rPr>
                        <a:t>Wrap-Up</a:t>
                      </a:r>
                      <a:endParaRPr kumimoji="0" lang="en-US" sz="2000" b="0" i="0" u="none" strike="noStrike" cap="none" normalizeH="0" baseline="3000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rebuchet MS" pitchFamily="34" charset="0"/>
                        <a:ea typeface="+mn-ea"/>
                        <a:cs typeface="Arial" charset="0"/>
                      </a:endParaRPr>
                    </a:p>
                  </a:txBody>
                  <a:tcPr marL="0" marR="21413" marT="0" marB="21413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31217">
                <a:tc>
                  <a:txBody>
                    <a:bodyPr/>
                    <a:lstStyle/>
                    <a:p>
                      <a:pPr marL="0" marR="0" lvl="0" indent="0" algn="r" defTabSz="1019175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25000"/>
                        <a:buFont typeface="Wingdings" pitchFamily="2" charset="2"/>
                        <a:buNone/>
                        <a:tabLst/>
                      </a:pPr>
                      <a:endParaRPr kumimoji="0" lang="en-US" sz="2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pitchFamily="34" charset="0"/>
                      </a:endParaRPr>
                    </a:p>
                  </a:txBody>
                  <a:tcPr marL="0" marT="0" marB="18288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19175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25000"/>
                        <a:buFont typeface="Wingdings" pitchFamily="2" charset="2"/>
                        <a:buNone/>
                        <a:tabLst/>
                      </a:pPr>
                      <a:endParaRPr kumimoji="0" lang="en-US" sz="2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cs typeface="Arial" pitchFamily="34" charset="0"/>
                      </a:endParaRPr>
                    </a:p>
                  </a:txBody>
                  <a:tcPr marL="0" marR="21413" marT="0" marB="21413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19175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25000"/>
                        <a:buFont typeface="Wingdings" pitchFamily="2" charset="2"/>
                        <a:buNone/>
                        <a:tabLst/>
                        <a:defRPr/>
                      </a:pPr>
                      <a:endParaRPr kumimoji="0" lang="en-US" sz="2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rebuchet MS" pitchFamily="34" charset="0"/>
                        <a:ea typeface="+mn-ea"/>
                        <a:cs typeface="Arial" charset="0"/>
                      </a:endParaRPr>
                    </a:p>
                  </a:txBody>
                  <a:tcPr marL="0" marR="21413" marT="0" marB="21413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custDataLst>
      <p:tags r:id="rId1"/>
    </p:custDataLst>
  </p:cSld>
  <p:clrMapOvr>
    <a:masterClrMapping/>
  </p:clrMapOvr>
  <p:transition xmlns:p14="http://schemas.microsoft.com/office/powerpoint/2010/main">
    <p:cut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5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>
              <a:lnSpc>
                <a:spcPct val="100000"/>
              </a:lnSpc>
              <a:spcBef>
                <a:spcPct val="20000"/>
              </a:spcBef>
              <a:buClrTx/>
              <a:buSzPct val="25000"/>
              <a:defRPr/>
            </a:pPr>
            <a:r>
              <a:rPr lang="en-US" dirty="0" smtClean="0">
                <a:latin typeface="Trebuchet MS" pitchFamily="34" charset="0"/>
                <a:cs typeface="Arial" charset="0"/>
              </a:rPr>
              <a:t>CFO Division Customer Discussion</a:t>
            </a:r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Rectangle 2"/>
          <p:cNvSpPr>
            <a:spLocks noGrp="1" noChangeArrowheads="1"/>
          </p:cNvSpPr>
          <p:nvPr>
            <p:ph type="title"/>
          </p:nvPr>
        </p:nvSpPr>
        <p:spPr>
          <a:xfrm>
            <a:off x="762000" y="866775"/>
            <a:ext cx="8686800" cy="288925"/>
          </a:xfrm>
        </p:spPr>
        <p:txBody>
          <a:bodyPr/>
          <a:lstStyle/>
          <a:p>
            <a:r>
              <a:rPr lang="en-US" sz="2300" dirty="0" smtClean="0"/>
              <a:t>Customer groups… are these the right categories?</a:t>
            </a:r>
            <a:endParaRPr lang="en-US" sz="2300" dirty="0" smtClean="0">
              <a:solidFill>
                <a:srgbClr val="FF0000"/>
              </a:solidFill>
            </a:endParaRPr>
          </a:p>
        </p:txBody>
      </p:sp>
      <p:graphicFrame>
        <p:nvGraphicFramePr>
          <p:cNvPr id="8" name="Table 7"/>
          <p:cNvGraphicFramePr>
            <a:graphicFrameLocks noGrp="1"/>
          </p:cNvGraphicFramePr>
          <p:nvPr/>
        </p:nvGraphicFramePr>
        <p:xfrm>
          <a:off x="1752600" y="1371600"/>
          <a:ext cx="7315199" cy="557331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99213"/>
                <a:gridCol w="3057993"/>
                <a:gridCol w="3057993"/>
              </a:tblGrid>
              <a:tr h="1001314">
                <a:tc>
                  <a:txBody>
                    <a:bodyPr/>
                    <a:lstStyle/>
                    <a:p>
                      <a:endParaRPr lang="en-US" sz="2400" b="1" dirty="0">
                        <a:solidFill>
                          <a:schemeClr val="bg1"/>
                        </a:solidFill>
                      </a:endParaRPr>
                    </a:p>
                  </a:txBody>
                  <a:tcPr marL="121920" marR="121920" marT="60960" marB="60960"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 smtClean="0"/>
                        <a:t>Micro</a:t>
                      </a:r>
                      <a:endParaRPr lang="en-US" sz="2400" dirty="0"/>
                    </a:p>
                  </a:txBody>
                  <a:tcPr marL="121920" marR="121920" marT="60960" marB="6096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 smtClean="0"/>
                        <a:t>Macro</a:t>
                      </a:r>
                      <a:endParaRPr lang="en-US" sz="2400" dirty="0"/>
                    </a:p>
                  </a:txBody>
                  <a:tcPr marL="121920" marR="121920" marT="60960" marB="60960" anchor="ctr"/>
                </a:tc>
              </a:tr>
              <a:tr h="2286000">
                <a:tc>
                  <a:txBody>
                    <a:bodyPr/>
                    <a:lstStyle/>
                    <a:p>
                      <a:pPr algn="ctr"/>
                      <a:r>
                        <a:rPr lang="en-US" sz="2400" b="1" dirty="0" smtClean="0">
                          <a:solidFill>
                            <a:schemeClr val="bg1"/>
                          </a:solidFill>
                        </a:rPr>
                        <a:t>Internal</a:t>
                      </a:r>
                      <a:endParaRPr lang="en-US" sz="2400" b="1" dirty="0">
                        <a:solidFill>
                          <a:schemeClr val="bg1"/>
                        </a:solidFill>
                      </a:endParaRPr>
                    </a:p>
                  </a:txBody>
                  <a:tcPr marL="121920" marR="121920" marT="60960" marB="60960" vert="vert270" anchor="ctr"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700" dirty="0" smtClean="0">
                          <a:solidFill>
                            <a:schemeClr val="bg2"/>
                          </a:solidFill>
                        </a:rPr>
                        <a:t>Each other!  (CFO Division)</a:t>
                      </a:r>
                    </a:p>
                    <a:p>
                      <a:pPr algn="ctr"/>
                      <a:r>
                        <a:rPr lang="en-US" sz="1700" dirty="0" smtClean="0">
                          <a:solidFill>
                            <a:schemeClr val="bg2"/>
                          </a:solidFill>
                        </a:rPr>
                        <a:t>Othe</a:t>
                      </a:r>
                      <a:r>
                        <a:rPr lang="en-US" sz="1700" baseline="0" dirty="0" smtClean="0">
                          <a:solidFill>
                            <a:schemeClr val="bg2"/>
                          </a:solidFill>
                        </a:rPr>
                        <a:t>r OP Divisions</a:t>
                      </a:r>
                    </a:p>
                    <a:p>
                      <a:pPr algn="ctr"/>
                      <a:r>
                        <a:rPr lang="en-US" sz="1700" baseline="0" dirty="0" smtClean="0">
                          <a:solidFill>
                            <a:schemeClr val="bg2"/>
                          </a:solidFill>
                        </a:rPr>
                        <a:t>Other OP </a:t>
                      </a:r>
                      <a:r>
                        <a:rPr lang="en-US" sz="1700" dirty="0" smtClean="0">
                          <a:solidFill>
                            <a:schemeClr val="bg2"/>
                          </a:solidFill>
                        </a:rPr>
                        <a:t>Departments</a:t>
                      </a:r>
                    </a:p>
                    <a:p>
                      <a:pPr algn="ctr"/>
                      <a:r>
                        <a:rPr lang="en-US" sz="1700" dirty="0" smtClean="0">
                          <a:solidFill>
                            <a:schemeClr val="bg2"/>
                          </a:solidFill>
                        </a:rPr>
                        <a:t>OP Senior</a:t>
                      </a:r>
                      <a:r>
                        <a:rPr lang="en-US" sz="1700" baseline="0" dirty="0" smtClean="0">
                          <a:solidFill>
                            <a:schemeClr val="bg2"/>
                          </a:solidFill>
                        </a:rPr>
                        <a:t> Leadership</a:t>
                      </a:r>
                      <a:endParaRPr lang="en-US" sz="1700" dirty="0" smtClean="0">
                        <a:solidFill>
                          <a:schemeClr val="bg2"/>
                        </a:solidFill>
                      </a:endParaRPr>
                    </a:p>
                    <a:p>
                      <a:pPr algn="ctr"/>
                      <a:r>
                        <a:rPr lang="en-US" sz="1700" baseline="0" dirty="0" smtClean="0">
                          <a:solidFill>
                            <a:schemeClr val="bg2"/>
                          </a:solidFill>
                        </a:rPr>
                        <a:t>Other OP staffers</a:t>
                      </a:r>
                    </a:p>
                    <a:p>
                      <a:pPr algn="ctr"/>
                      <a:r>
                        <a:rPr lang="en-US" sz="1700" baseline="0" dirty="0" smtClean="0">
                          <a:solidFill>
                            <a:schemeClr val="bg2"/>
                          </a:solidFill>
                        </a:rPr>
                        <a:t>UC President</a:t>
                      </a:r>
                      <a:endParaRPr lang="en-US" sz="1700" dirty="0">
                        <a:solidFill>
                          <a:schemeClr val="bg2"/>
                        </a:solidFill>
                      </a:endParaRPr>
                    </a:p>
                  </a:txBody>
                  <a:tcPr marL="121920" marR="121920" marT="60960" marB="6096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700" dirty="0" smtClean="0">
                          <a:solidFill>
                            <a:schemeClr val="bg2"/>
                          </a:solidFill>
                        </a:rPr>
                        <a:t>Regents</a:t>
                      </a:r>
                    </a:p>
                    <a:p>
                      <a:pPr algn="ctr"/>
                      <a:r>
                        <a:rPr lang="en-US" sz="1700" dirty="0" smtClean="0">
                          <a:solidFill>
                            <a:schemeClr val="bg2"/>
                          </a:solidFill>
                        </a:rPr>
                        <a:t>Faculty</a:t>
                      </a:r>
                    </a:p>
                    <a:p>
                      <a:pPr algn="ctr"/>
                      <a:r>
                        <a:rPr lang="en-US" sz="1700" dirty="0" smtClean="0">
                          <a:solidFill>
                            <a:schemeClr val="bg2"/>
                          </a:solidFill>
                        </a:rPr>
                        <a:t>Staff</a:t>
                      </a:r>
                    </a:p>
                    <a:p>
                      <a:pPr algn="ctr"/>
                      <a:r>
                        <a:rPr lang="en-US" sz="1700" dirty="0" smtClean="0">
                          <a:solidFill>
                            <a:schemeClr val="bg2"/>
                          </a:solidFill>
                        </a:rPr>
                        <a:t>Students</a:t>
                      </a:r>
                    </a:p>
                    <a:p>
                      <a:pPr algn="ctr"/>
                      <a:r>
                        <a:rPr lang="en-US" sz="1700" dirty="0" smtClean="0">
                          <a:solidFill>
                            <a:schemeClr val="bg2"/>
                          </a:solidFill>
                        </a:rPr>
                        <a:t>Healthcare Patients</a:t>
                      </a:r>
                    </a:p>
                    <a:p>
                      <a:pPr algn="ctr"/>
                      <a:r>
                        <a:rPr lang="en-US" sz="1700" dirty="0" smtClean="0">
                          <a:solidFill>
                            <a:schemeClr val="bg2"/>
                          </a:solidFill>
                        </a:rPr>
                        <a:t>Retirees</a:t>
                      </a:r>
                    </a:p>
                    <a:p>
                      <a:pPr algn="ctr"/>
                      <a:r>
                        <a:rPr lang="en-US" sz="1700" dirty="0" smtClean="0">
                          <a:solidFill>
                            <a:schemeClr val="bg2"/>
                          </a:solidFill>
                        </a:rPr>
                        <a:t>Alumnae</a:t>
                      </a:r>
                      <a:r>
                        <a:rPr lang="en-US" sz="1700" baseline="0" dirty="0" smtClean="0">
                          <a:solidFill>
                            <a:schemeClr val="bg2"/>
                          </a:solidFill>
                        </a:rPr>
                        <a:t> </a:t>
                      </a:r>
                    </a:p>
                    <a:p>
                      <a:pPr algn="ctr"/>
                      <a:r>
                        <a:rPr lang="en-US" sz="1700" baseline="0" dirty="0" smtClean="0">
                          <a:solidFill>
                            <a:schemeClr val="bg2"/>
                          </a:solidFill>
                        </a:rPr>
                        <a:t>Foundations/Clubs</a:t>
                      </a:r>
                    </a:p>
                  </a:txBody>
                  <a:tcPr marL="121920" marR="121920" marT="60960" marB="6096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2286000">
                <a:tc>
                  <a:txBody>
                    <a:bodyPr/>
                    <a:lstStyle/>
                    <a:p>
                      <a:pPr algn="ctr"/>
                      <a:r>
                        <a:rPr lang="en-US" sz="2400" b="1" dirty="0" smtClean="0">
                          <a:solidFill>
                            <a:schemeClr val="bg1"/>
                          </a:solidFill>
                        </a:rPr>
                        <a:t>External</a:t>
                      </a:r>
                      <a:endParaRPr lang="en-US" sz="2400" b="1" dirty="0">
                        <a:solidFill>
                          <a:schemeClr val="bg1"/>
                        </a:solidFill>
                      </a:endParaRPr>
                    </a:p>
                  </a:txBody>
                  <a:tcPr marL="121920" marR="121920" marT="60960" marB="60960" vert="vert270" anchor="ctr"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700" dirty="0" smtClean="0">
                          <a:solidFill>
                            <a:schemeClr val="bg2"/>
                          </a:solidFill>
                        </a:rPr>
                        <a:t>Campuses</a:t>
                      </a:r>
                    </a:p>
                    <a:p>
                      <a:pPr algn="ctr"/>
                      <a:r>
                        <a:rPr lang="en-US" sz="1700" dirty="0" smtClean="0">
                          <a:solidFill>
                            <a:schemeClr val="bg2"/>
                          </a:solidFill>
                        </a:rPr>
                        <a:t>Medical Centers</a:t>
                      </a:r>
                    </a:p>
                    <a:p>
                      <a:pPr algn="ctr"/>
                      <a:r>
                        <a:rPr lang="en-US" sz="1700" dirty="0" smtClean="0">
                          <a:solidFill>
                            <a:schemeClr val="bg2"/>
                          </a:solidFill>
                        </a:rPr>
                        <a:t>Nat’l. Labs</a:t>
                      </a:r>
                    </a:p>
                    <a:p>
                      <a:pPr algn="ctr"/>
                      <a:r>
                        <a:rPr lang="en-US" sz="1700" dirty="0" smtClean="0">
                          <a:solidFill>
                            <a:schemeClr val="bg2"/>
                          </a:solidFill>
                        </a:rPr>
                        <a:t>Individuals at each of the above</a:t>
                      </a:r>
                    </a:p>
                    <a:p>
                      <a:pPr algn="ctr"/>
                      <a:r>
                        <a:rPr lang="en-US" sz="1700" dirty="0" smtClean="0">
                          <a:solidFill>
                            <a:schemeClr val="bg2"/>
                          </a:solidFill>
                        </a:rPr>
                        <a:t>Business</a:t>
                      </a:r>
                      <a:r>
                        <a:rPr lang="en-US" sz="1700" baseline="0" dirty="0" smtClean="0">
                          <a:solidFill>
                            <a:schemeClr val="bg2"/>
                          </a:solidFill>
                        </a:rPr>
                        <a:t> offices at each of the above</a:t>
                      </a:r>
                      <a:endParaRPr lang="en-US" sz="1700" dirty="0" smtClean="0">
                        <a:solidFill>
                          <a:schemeClr val="bg2"/>
                        </a:solidFill>
                      </a:endParaRPr>
                    </a:p>
                    <a:p>
                      <a:pPr algn="ctr"/>
                      <a:endParaRPr lang="en-US" sz="1700" dirty="0">
                        <a:solidFill>
                          <a:schemeClr val="bg2"/>
                        </a:solidFill>
                      </a:endParaRPr>
                    </a:p>
                  </a:txBody>
                  <a:tcPr marL="121920" marR="121920" marT="60960" marB="6096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700" dirty="0" smtClean="0">
                          <a:solidFill>
                            <a:schemeClr val="bg2"/>
                          </a:solidFill>
                        </a:rPr>
                        <a:t>Donors</a:t>
                      </a:r>
                    </a:p>
                    <a:p>
                      <a:pPr algn="ctr"/>
                      <a:r>
                        <a:rPr lang="en-US" sz="1700" dirty="0" smtClean="0">
                          <a:solidFill>
                            <a:schemeClr val="bg2"/>
                          </a:solidFill>
                        </a:rPr>
                        <a:t>Taxpayers</a:t>
                      </a:r>
                    </a:p>
                    <a:p>
                      <a:pPr algn="ctr"/>
                      <a:r>
                        <a:rPr lang="en-US" sz="1700" dirty="0" smtClean="0">
                          <a:solidFill>
                            <a:schemeClr val="bg2"/>
                          </a:solidFill>
                        </a:rPr>
                        <a:t>Bondholders</a:t>
                      </a:r>
                    </a:p>
                    <a:p>
                      <a:pPr algn="ctr"/>
                      <a:r>
                        <a:rPr lang="en-US" sz="1700" dirty="0" smtClean="0">
                          <a:solidFill>
                            <a:schemeClr val="bg2"/>
                          </a:solidFill>
                        </a:rPr>
                        <a:t>Rating</a:t>
                      </a:r>
                      <a:r>
                        <a:rPr lang="en-US" sz="1700" baseline="0" dirty="0" smtClean="0">
                          <a:solidFill>
                            <a:schemeClr val="bg2"/>
                          </a:solidFill>
                        </a:rPr>
                        <a:t> Agencies</a:t>
                      </a:r>
                    </a:p>
                    <a:p>
                      <a:pPr algn="ctr"/>
                      <a:r>
                        <a:rPr lang="en-US" sz="1700" baseline="0" dirty="0" smtClean="0">
                          <a:solidFill>
                            <a:schemeClr val="bg2"/>
                          </a:solidFill>
                        </a:rPr>
                        <a:t>Underwriters</a:t>
                      </a:r>
                    </a:p>
                    <a:p>
                      <a:pPr algn="ctr"/>
                      <a:r>
                        <a:rPr lang="en-US" sz="1700" baseline="0" dirty="0" smtClean="0">
                          <a:solidFill>
                            <a:schemeClr val="bg2"/>
                          </a:solidFill>
                        </a:rPr>
                        <a:t>Major vendors/suppliers</a:t>
                      </a:r>
                    </a:p>
                    <a:p>
                      <a:pPr algn="ctr"/>
                      <a:r>
                        <a:rPr lang="en-US" sz="1700" baseline="0" dirty="0" smtClean="0">
                          <a:solidFill>
                            <a:schemeClr val="bg2"/>
                          </a:solidFill>
                        </a:rPr>
                        <a:t>External auditors</a:t>
                      </a:r>
                    </a:p>
                    <a:p>
                      <a:pPr algn="ctr"/>
                      <a:r>
                        <a:rPr lang="en-US" sz="1700" baseline="0" dirty="0" smtClean="0">
                          <a:solidFill>
                            <a:schemeClr val="bg2"/>
                          </a:solidFill>
                        </a:rPr>
                        <a:t>State/Federal governments</a:t>
                      </a:r>
                    </a:p>
                  </a:txBody>
                  <a:tcPr marL="121920" marR="121920" marT="60960" marB="6096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</p:spTree>
    <p:custDataLst>
      <p:tags r:id="rId1"/>
    </p:custDataLst>
  </p:cSld>
  <p:clrMapOvr>
    <a:masterClrMapping/>
  </p:clrMapOvr>
  <p:transition xmlns:p14="http://schemas.microsoft.com/office/powerpoint/2010/main">
    <p:cut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Rectangle 2"/>
          <p:cNvSpPr>
            <a:spLocks noGrp="1" noChangeArrowheads="1"/>
          </p:cNvSpPr>
          <p:nvPr>
            <p:ph type="title"/>
          </p:nvPr>
        </p:nvSpPr>
        <p:spPr>
          <a:xfrm>
            <a:off x="762000" y="838200"/>
            <a:ext cx="8686800" cy="288925"/>
          </a:xfrm>
        </p:spPr>
        <p:txBody>
          <a:bodyPr/>
          <a:lstStyle/>
          <a:p>
            <a:pPr lvl="1"/>
            <a:r>
              <a:rPr lang="en-US" sz="2300" dirty="0" smtClean="0"/>
              <a:t>If we did a CFO Division Customer Service Survey… </a:t>
            </a:r>
            <a:endParaRPr lang="en-US" sz="2300" u="sng" dirty="0" smtClean="0">
              <a:solidFill>
                <a:schemeClr val="accent1"/>
              </a:solidFill>
            </a:endParaRPr>
          </a:p>
        </p:txBody>
      </p:sp>
      <p:pic>
        <p:nvPicPr>
          <p:cNvPr id="28676" name="Picture 4" descr="http://greenwillowblog.com/wp-content/uploads/2011/04/War-and-Peace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524000" y="1638300"/>
            <a:ext cx="3152775" cy="4762500"/>
          </a:xfrm>
          <a:prstGeom prst="rect">
            <a:avLst/>
          </a:prstGeom>
          <a:noFill/>
          <a:ln w="25400">
            <a:solidFill>
              <a:schemeClr val="bg1">
                <a:lumMod val="50000"/>
              </a:schemeClr>
            </a:solidFill>
          </a:ln>
        </p:spPr>
      </p:pic>
      <p:pic>
        <p:nvPicPr>
          <p:cNvPr id="28678" name="Picture 6" descr="http://www.steinerbooks.org/images/large/9780863156236.jpg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96000" y="1943100"/>
            <a:ext cx="3025422" cy="4267200"/>
          </a:xfrm>
          <a:prstGeom prst="rect">
            <a:avLst/>
          </a:prstGeom>
          <a:noFill/>
          <a:ln w="25400">
            <a:solidFill>
              <a:schemeClr val="bg1">
                <a:lumMod val="50000"/>
              </a:schemeClr>
            </a:solidFill>
          </a:ln>
        </p:spPr>
      </p:pic>
      <p:sp>
        <p:nvSpPr>
          <p:cNvPr id="18" name="TextBox 17"/>
          <p:cNvSpPr txBox="1"/>
          <p:nvPr/>
        </p:nvSpPr>
        <p:spPr>
          <a:xfrm>
            <a:off x="2385235" y="1485900"/>
            <a:ext cx="1447800" cy="400110"/>
          </a:xfrm>
          <a:prstGeom prst="rect">
            <a:avLst/>
          </a:prstGeom>
          <a:solidFill>
            <a:schemeClr val="accent1"/>
          </a:solidFill>
          <a:ln w="25400">
            <a:solidFill>
              <a:schemeClr val="bg2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 smtClean="0">
                <a:solidFill>
                  <a:schemeClr val="bg1"/>
                </a:solidFill>
              </a:rPr>
              <a:t>Complex?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6989134" y="1714500"/>
            <a:ext cx="1295400" cy="400110"/>
          </a:xfrm>
          <a:prstGeom prst="rect">
            <a:avLst/>
          </a:prstGeom>
          <a:solidFill>
            <a:schemeClr val="accent1"/>
          </a:solidFill>
          <a:ln w="25400">
            <a:solidFill>
              <a:schemeClr val="bg2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 smtClean="0">
                <a:solidFill>
                  <a:schemeClr val="bg1"/>
                </a:solidFill>
              </a:rPr>
              <a:t>Simple?</a:t>
            </a:r>
          </a:p>
        </p:txBody>
      </p:sp>
      <p:sp>
        <p:nvSpPr>
          <p:cNvPr id="21" name="Rectangle 2"/>
          <p:cNvSpPr txBox="1">
            <a:spLocks noChangeArrowheads="1"/>
          </p:cNvSpPr>
          <p:nvPr/>
        </p:nvSpPr>
        <p:spPr bwMode="auto">
          <a:xfrm>
            <a:off x="4953000" y="3733800"/>
            <a:ext cx="914400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marL="0" marR="0" lvl="1" indent="0" algn="ctr" defTabSz="1019175" rtl="0" eaLnBrk="0" fontAlgn="base" latinLnBrk="0" hangingPunct="0">
              <a:lnSpc>
                <a:spcPts val="2788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3000" b="1" kern="0" dirty="0" smtClean="0">
                <a:ea typeface="LF_Kai" pitchFamily="2" charset="-122"/>
              </a:rPr>
              <a:t>Vs. </a:t>
            </a:r>
            <a:endParaRPr kumimoji="0" lang="en-US" sz="3000" b="1" i="0" u="sng" strike="noStrike" kern="0" cap="none" spc="0" normalizeH="0" baseline="0" noProof="0" dirty="0" smtClean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Trebuchet MS" pitchFamily="34" charset="0"/>
              <a:ea typeface="LF_Kai" pitchFamily="2" charset="-122"/>
              <a:cs typeface="LF_Kai"/>
            </a:endParaRPr>
          </a:p>
        </p:txBody>
      </p:sp>
    </p:spTree>
    <p:custDataLst>
      <p:tags r:id="rId1"/>
    </p:custDataLst>
  </p:cSld>
  <p:clrMapOvr>
    <a:masterClrMapping/>
  </p:clrMapOvr>
  <p:transition xmlns:p14="http://schemas.microsoft.com/office/powerpoint/2010/main">
    <p:cut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5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>
              <a:lnSpc>
                <a:spcPct val="100000"/>
              </a:lnSpc>
              <a:spcBef>
                <a:spcPct val="20000"/>
              </a:spcBef>
              <a:buClrTx/>
              <a:buSzPct val="25000"/>
              <a:defRPr/>
            </a:pPr>
            <a:r>
              <a:rPr lang="en-US" dirty="0" smtClean="0">
                <a:latin typeface="Trebuchet MS" pitchFamily="34" charset="0"/>
                <a:cs typeface="Arial" charset="0"/>
              </a:rPr>
              <a:t>Wrap-Up</a:t>
            </a:r>
          </a:p>
        </p:txBody>
      </p:sp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 noChangeArrowheads="1"/>
          </p:cNvSpPr>
          <p:nvPr/>
        </p:nvSpPr>
        <p:spPr bwMode="gray">
          <a:xfrm>
            <a:off x="304800" y="1447800"/>
            <a:ext cx="8915400" cy="518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9" tIns="36571" rIns="36571" bIns="36571"/>
          <a:lstStyle/>
          <a:p>
            <a:pPr marL="458788" lvl="1" indent="-457200" algn="just" defTabSz="1019175" eaLnBrk="0" hangingPunct="0">
              <a:buClr>
                <a:schemeClr val="folHlink"/>
              </a:buClr>
              <a:buSzPct val="125000"/>
              <a:buFont typeface="+mj-lt"/>
              <a:buAutoNum type="arabicPeriod"/>
            </a:pPr>
            <a:endParaRPr lang="en-US" sz="3000" b="1" dirty="0" smtClean="0">
              <a:solidFill>
                <a:schemeClr val="bg2"/>
              </a:solidFill>
            </a:endParaRPr>
          </a:p>
          <a:p>
            <a:pPr marL="1373188" lvl="3" indent="-457200" algn="just" defTabSz="1019175" eaLnBrk="0" hangingPunct="0">
              <a:buClr>
                <a:schemeClr val="folHlink"/>
              </a:buClr>
              <a:buSzPct val="125000"/>
              <a:buFont typeface="+mj-lt"/>
              <a:buAutoNum type="arabicPeriod"/>
            </a:pPr>
            <a:r>
              <a:rPr lang="en-US" sz="3000" b="1" dirty="0" smtClean="0">
                <a:solidFill>
                  <a:schemeClr val="accent1"/>
                </a:solidFill>
                <a:sym typeface="Wingdings" pitchFamily="2" charset="2"/>
              </a:rPr>
              <a:t>Senior Staff Retreat on 9/9</a:t>
            </a:r>
          </a:p>
          <a:p>
            <a:pPr marL="1373188" lvl="3" indent="-457200" algn="just" defTabSz="1019175" eaLnBrk="0" hangingPunct="0">
              <a:buClr>
                <a:schemeClr val="folHlink"/>
              </a:buClr>
              <a:buSzPct val="125000"/>
              <a:buFont typeface="+mj-lt"/>
              <a:buAutoNum type="arabicPeriod"/>
            </a:pPr>
            <a:endParaRPr lang="en-US" sz="3000" b="1" dirty="0" smtClean="0">
              <a:solidFill>
                <a:schemeClr val="accent1"/>
              </a:solidFill>
              <a:sym typeface="Wingdings" pitchFamily="2" charset="2"/>
            </a:endParaRPr>
          </a:p>
          <a:p>
            <a:pPr marL="1373188" lvl="3" indent="-457200" algn="just" defTabSz="1019175" eaLnBrk="0" hangingPunct="0">
              <a:buClr>
                <a:schemeClr val="folHlink"/>
              </a:buClr>
              <a:buSzPct val="125000"/>
              <a:buFont typeface="+mj-lt"/>
              <a:buAutoNum type="arabicPeriod"/>
            </a:pPr>
            <a:r>
              <a:rPr lang="en-US" sz="3000" b="1" dirty="0" smtClean="0">
                <a:solidFill>
                  <a:schemeClr val="accent1"/>
                </a:solidFill>
                <a:sym typeface="Wingdings" pitchFamily="2" charset="2"/>
              </a:rPr>
              <a:t>Managers’ Town Hall on 10/27 *</a:t>
            </a:r>
          </a:p>
          <a:p>
            <a:pPr marL="1373188" lvl="3" indent="-457200" algn="just" defTabSz="1019175" eaLnBrk="0" hangingPunct="0">
              <a:buClr>
                <a:schemeClr val="folHlink"/>
              </a:buClr>
              <a:buSzPct val="125000"/>
              <a:buFont typeface="+mj-lt"/>
              <a:buAutoNum type="arabicPeriod"/>
            </a:pPr>
            <a:endParaRPr lang="en-US" sz="3000" b="1" dirty="0" smtClean="0">
              <a:solidFill>
                <a:schemeClr val="accent1"/>
              </a:solidFill>
              <a:sym typeface="Wingdings" pitchFamily="2" charset="2"/>
            </a:endParaRPr>
          </a:p>
          <a:p>
            <a:pPr marL="1373188" lvl="3" indent="-457200" algn="just" defTabSz="1019175" eaLnBrk="0" hangingPunct="0">
              <a:buClr>
                <a:schemeClr val="folHlink"/>
              </a:buClr>
              <a:buSzPct val="125000"/>
              <a:buFont typeface="+mj-lt"/>
              <a:buAutoNum type="arabicPeriod"/>
            </a:pPr>
            <a:r>
              <a:rPr lang="en-US" sz="3000" b="1" dirty="0" smtClean="0">
                <a:solidFill>
                  <a:schemeClr val="accent1"/>
                </a:solidFill>
                <a:sym typeface="Wingdings" pitchFamily="2" charset="2"/>
              </a:rPr>
              <a:t>Stay tuned for </a:t>
            </a:r>
            <a:r>
              <a:rPr lang="en-US" sz="3000" b="1" dirty="0" smtClean="0">
                <a:sym typeface="Wingdings" pitchFamily="2" charset="2"/>
              </a:rPr>
              <a:t>BASEBALL</a:t>
            </a:r>
            <a:r>
              <a:rPr lang="en-US" sz="3000" b="1" dirty="0" smtClean="0">
                <a:solidFill>
                  <a:schemeClr val="accent1"/>
                </a:solidFill>
                <a:sym typeface="Wingdings" pitchFamily="2" charset="2"/>
              </a:rPr>
              <a:t>… </a:t>
            </a:r>
          </a:p>
          <a:p>
            <a:pPr marL="1373188" lvl="3" indent="-457200" algn="just" defTabSz="1019175" eaLnBrk="0" hangingPunct="0">
              <a:buClr>
                <a:schemeClr val="folHlink"/>
              </a:buClr>
              <a:buSzPct val="125000"/>
              <a:buFont typeface="+mj-lt"/>
              <a:buAutoNum type="arabicPeriod"/>
            </a:pPr>
            <a:endParaRPr lang="en-US" sz="3000" b="1" dirty="0" smtClean="0">
              <a:solidFill>
                <a:schemeClr val="accent1"/>
              </a:solidFill>
              <a:sym typeface="Wingdings" pitchFamily="2" charset="2"/>
            </a:endParaRPr>
          </a:p>
          <a:p>
            <a:pPr marL="1373188" lvl="3" indent="-457200" algn="just" defTabSz="1019175" eaLnBrk="0" hangingPunct="0">
              <a:buClr>
                <a:schemeClr val="folHlink"/>
              </a:buClr>
              <a:buSzPct val="125000"/>
              <a:buFont typeface="+mj-lt"/>
              <a:buAutoNum type="arabicPeriod"/>
            </a:pPr>
            <a:endParaRPr lang="en-US" sz="3000" b="1" dirty="0" smtClean="0">
              <a:solidFill>
                <a:schemeClr val="accent1"/>
              </a:solidFill>
              <a:sym typeface="Wingdings" pitchFamily="2" charset="2"/>
            </a:endParaRPr>
          </a:p>
          <a:p>
            <a:pPr marL="1373188" lvl="3" indent="-457200" algn="just" defTabSz="1019175" eaLnBrk="0" hangingPunct="0">
              <a:buClr>
                <a:schemeClr val="folHlink"/>
              </a:buClr>
              <a:buSzPct val="125000"/>
            </a:pPr>
            <a:endParaRPr lang="en-US" sz="2000" b="1" dirty="0" smtClean="0">
              <a:solidFill>
                <a:schemeClr val="accent1"/>
              </a:solidFill>
              <a:sym typeface="Wingdings" pitchFamily="2" charset="2"/>
            </a:endParaRPr>
          </a:p>
          <a:p>
            <a:pPr marL="1373188" lvl="3" indent="-457200" algn="just" defTabSz="1019175" eaLnBrk="0" hangingPunct="0">
              <a:buClr>
                <a:schemeClr val="folHlink"/>
              </a:buClr>
              <a:buSzPct val="125000"/>
            </a:pPr>
            <a:endParaRPr lang="en-US" sz="2000" b="1" dirty="0" smtClean="0">
              <a:solidFill>
                <a:schemeClr val="accent1"/>
              </a:solidFill>
              <a:sym typeface="Wingdings" pitchFamily="2" charset="2"/>
            </a:endParaRPr>
          </a:p>
          <a:p>
            <a:pPr marL="1373188" lvl="3" indent="-457200" algn="just" defTabSz="1019175" eaLnBrk="0" hangingPunct="0">
              <a:buClr>
                <a:schemeClr val="folHlink"/>
              </a:buClr>
              <a:buSzPct val="125000"/>
            </a:pPr>
            <a:endParaRPr lang="en-US" sz="2000" b="1" dirty="0" smtClean="0">
              <a:solidFill>
                <a:schemeClr val="accent1"/>
              </a:solidFill>
              <a:sym typeface="Wingdings" pitchFamily="2" charset="2"/>
            </a:endParaRPr>
          </a:p>
          <a:p>
            <a:pPr marL="1373188" lvl="3" indent="-457200" algn="just" defTabSz="1019175" eaLnBrk="0" hangingPunct="0">
              <a:buClr>
                <a:schemeClr val="folHlink"/>
              </a:buClr>
              <a:buSzPct val="125000"/>
            </a:pPr>
            <a:r>
              <a:rPr lang="en-US" sz="2000" b="1" dirty="0" smtClean="0">
                <a:solidFill>
                  <a:schemeClr val="accent1"/>
                </a:solidFill>
                <a:sym typeface="Wingdings" pitchFamily="2" charset="2"/>
              </a:rPr>
              <a:t>* Hopefully… (it might change)</a:t>
            </a:r>
          </a:p>
          <a:p>
            <a:pPr marL="1373188" lvl="3" indent="-457200" algn="just" defTabSz="1019175" eaLnBrk="0" hangingPunct="0">
              <a:buClr>
                <a:schemeClr val="folHlink"/>
              </a:buClr>
              <a:buSzPct val="125000"/>
              <a:buFont typeface="+mj-lt"/>
              <a:buAutoNum type="arabicPeriod"/>
            </a:pPr>
            <a:endParaRPr lang="en-US" sz="3000" b="1" dirty="0" smtClean="0">
              <a:solidFill>
                <a:schemeClr val="accent1"/>
              </a:solidFill>
              <a:sym typeface="Wingdings" pitchFamily="2" charset="2"/>
            </a:endParaRPr>
          </a:p>
        </p:txBody>
      </p:sp>
      <p:pic>
        <p:nvPicPr>
          <p:cNvPr id="5124" name="Picture 4" descr="http://people.ucsc.edu/~jchen17/SFGiants.gif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9858" b="23404"/>
          <a:stretch>
            <a:fillRect/>
          </a:stretch>
        </p:blipFill>
        <p:spPr bwMode="auto">
          <a:xfrm>
            <a:off x="5257800" y="4191000"/>
            <a:ext cx="2686050" cy="1524000"/>
          </a:xfrm>
          <a:prstGeom prst="rect">
            <a:avLst/>
          </a:prstGeom>
          <a:noFill/>
        </p:spPr>
      </p:pic>
      <p:sp>
        <p:nvSpPr>
          <p:cNvPr id="24577" name="Rectangle 2"/>
          <p:cNvSpPr>
            <a:spLocks noGrp="1" noChangeArrowheads="1"/>
          </p:cNvSpPr>
          <p:nvPr>
            <p:ph type="title"/>
          </p:nvPr>
        </p:nvSpPr>
        <p:spPr>
          <a:xfrm>
            <a:off x="762000" y="838200"/>
            <a:ext cx="7696200" cy="288925"/>
          </a:xfrm>
        </p:spPr>
        <p:txBody>
          <a:bodyPr/>
          <a:lstStyle/>
          <a:p>
            <a:pPr lvl="1"/>
            <a:r>
              <a:rPr lang="en-US" sz="2300" dirty="0" smtClean="0"/>
              <a:t>Future meetings</a:t>
            </a:r>
          </a:p>
        </p:txBody>
      </p:sp>
      <p:sp>
        <p:nvSpPr>
          <p:cNvPr id="56" name="TextBox 55"/>
          <p:cNvSpPr txBox="1"/>
          <p:nvPr/>
        </p:nvSpPr>
        <p:spPr>
          <a:xfrm rot="233865">
            <a:off x="5286126" y="655755"/>
            <a:ext cx="808076" cy="307777"/>
          </a:xfrm>
          <a:prstGeom prst="rect">
            <a:avLst/>
          </a:prstGeom>
          <a:noFill/>
          <a:ln w="5080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Values</a:t>
            </a:r>
          </a:p>
        </p:txBody>
      </p:sp>
      <p:sp>
        <p:nvSpPr>
          <p:cNvPr id="93186" name="AutoShape 2" descr="data:image/jpg;base64,/9j/4AAQSkZJRgABAQAAAQABAAD/2wCEAAkGBhQSDhQQEA8QEBQUEBkQFA4QFhEQFBAQFBwWFRUQFRQYHycqFxkjGRUTHy8iIycsLCwsFR4xQTIqNSYrLSkBCQoKBQUFDQUFDSkYEhgpKSkpKSkpKSkpKSkpKSkpKSkpKSkpKSkpKSkpKSkpKSkpKSkpKSkpKSkpKSkpKSkpKf/AABEIAMwA9wMBIgACEQEDEQH/xAAbAAACAwEBAQAAAAAAAAAAAAAABAMFBgECB//EAEkQAAIBAQMEDQkIAQMDBQEAAAECAwAEERIFEyFTBhQVIzEzUVJzkZKT0iIyQVRxsbLR0wc0QmFiY3Kis0OBoSR0dRY1NsHCCP/EABQBAQAAAAAAAAAAAAAAAAAAAAD/xAAUEQEAAAAAAAAAAAAAAAAAAAAA/9oADAMBAAIRAxEAPwD7PLaXzhRERrkViWcp5xYXABTzf+a5nJtXF3j/AE67H94foo/ilpqgUzk2ri7x/p0ZybVxd4/06booFM5Nq4u8f6dGcm1cXeP9Om6KBTOTauLvH+nRnJtXF3j/AE6booFM5Nq4u8f6dGcm1cXeP9Om6KBTOTauLvH+nRnJtXF3j/TrL5O+0FpctS5KNjwtCpkefPBlzVyFXC4LyTnI9HovOnRV3YNl1kmWV4bVFKsK4pShLZpdOluTzT1Ggdzk2ri7x/p0ZybVxd4/06rZNnNhWBLQ1tgELsUSYtcjuvnKG4CR/wDR5KnynssslnEZtFqihEq4o84cOcGjzb+HhGj86BvOTauLvH+nRnJtXF3j/TqOfL0CWiOzPMizSrijhN+J106VHpHknqqHZRsijsNjltc2IpGAcK6WdmIVUH5liBQNZybVxd4/06M5Nq4u8f6dYXYr9sAtNshslpsEtia0xCazu7iRZkYMVbzVuDBWuOm8i6qu1f8A9ARLLI0eT55bLHMIXtiuo8psWErGRpvCORew0D0UH07OTauLvH+nRnJtXF3j/TrH7LPtjsNiiVlfbUsiJIlniNzZuRQ6u7Eb2CjAgHSbxo9Ij2WfbNZLEqLcbROwUtZYmF8IYBt8e64EXjRw/kKDaZybVxd4/wBOjOTauLvH+nTQNdoFM5Nq4u8f6dGcm1cXeP8ATpuigUzk2ri7x/p0ZybVxd4/06booFM5Nq4u8f6dGcm1cXeP9Om6KBTOTauLvH+nRnJtXF3j/TpuigWs1oYuyOiqQqterFwQxYelRd5v/NFcj+8P0UfxS0UBH94foo/ilpqlY/vD9FH8UtNUBRRRQFFFFAUUUUBRRRQfJtjv/wA5yh/2Q+Gx1P8AZMdGWf8AyU3/AOqNhViefZPlDKcattUxbWSZlZBLKogVgmIDEAYXvI/Llq+H2evFPa3sVuazJbWMk0LRJNhka/FJC5YYCcR4Qw6hQfNNkf8A8Lyb/wB2nvtNfTPtY2ObcyTMqm6WAbbhN9xDxXkge1cS+0jkrxsk+zGO05Ns+TYp2s8NnZXBwCV3KBlUkkgaS7k6NJPopj/0VO00882UM7JLYmsKnMIiQxu2JmCB/KY/meTkuoEfs0tj5QUZXnW5mgWxwryLHcbTLcDozk4YfxiWtXsgyLBarM0FrQPCbnZWZox5BxAllIIAIv4fRSOwfYtudYlsYmz6ozFHKCMgOS5U3E3+UW06OGvOz/ItoteTZrLZJEiklATHIWVc2SM4pKgnSt44PTQfKNg9lGU9kBtkCFLFk6IQ2cHEd7jVo7OgLabz5chvvI4Dw18/yd/7Ba//ACFl+C019m+znYRlbJ7xwSTZP2mHd5o4gxlkLKbjiMYvN+AcPAt1Ze0fYdlBBNYoJrIbJLaUnz0hkEqiISKgKheG6Q3gX3kDSNNAl9p2S4l2O5JtCwxrK8MKvMqqHdRZxcGYC9rsK3X8F1TfbrkyJLPk2ZIY0kkRs5KiqrS3JBdjYDyrrzw8tbn7QvsymteS7HYbJJENq4VxTlkxIkebB8lW0nQaj+077NrTlGz2KKzvZ1azKwcys6gkrGow4UN+lDw3eig+lrwV2uCu0BRRRQFFFFAUUUUBRRRQKx/eH6KP4paKI/vD9FH8UtFBE8xW0PdG771HpUxi7ypecwqXbjery9cHjoRv+ofoo/ilpLZRY89Y5IlMt7YQDCY8YuZTiukIV1F17KfOUMum+6gd22/q8vXB46NuN6vL1weOvncOxm1XPnLLGpkzUxWJohEjR2aeJogpbyTnGW4C8DH51wJGm2FZJls2ejm0qrJFBKSpaSzIt8eO4+egbNknhzd/poL7bjery9cHjo243q8vXB46ZxjlFUmzHJW2rC9mUm+Ro1xIQGjGcQmUEkaVALcuigstuN6vL1weOjbjery9cHjr53FsZtmcd7TDtgSSvJLEjxYZJpbJCiugZh5CTCdBfcRjVrvSHtj2xy1w2yB5TnUJU2h2dTdaYbKIBaUBN5Ehd1bRffGhu0mg223G9Xl64PHRtxvV5euDx0xjHKK7jHKKBbbbery9cHjo22/q8vXB46zuXtjQmyhFKIUZTZ5xLKSuic7W2uTeb9Gae64XDTzjfl//AEraTHZcVlJzUMEMqE2aQsYbLaonNzOAymWWIAk+jFoABoPpW3G9Xl64PHRtxvV5euDx1NEwwjgGgaL77vyvr3jHKKBbbjery9cHjo22/q8vXB46yez3Y5NaZFay6C9knsssiuEZL83PAwvIv32HBo9ExqqtOxm0GYytZsRlsV7qu12CWyV7TK6B2cFcBmj8pb8QQLwUH0Hbjery9cHjo243q8vXB46zmwTJMsAkzq5lGis6LAWVrpo4gs81ykhcTYRoOnNk+nTrMY5RQLbcb1eXrg8dG239Xl64PHXu1QJIhjkCurC5kPAw5DyivmE2wu07TjWODNynJ1viluaC9rRNm1gQnHdeVQjEOD0kUH0zbjery9cHjo243q8vXB46yWxzIU0dsxPFgRbRaZw+KMqUnWEIoAN+IYXBF1wwfmL9tjHKKBbbjery9cHjo22/q8vXB46YxjlFfPdkWxSeaXKEixK2cezmAERFnwizrI6uXGFQElBQ3Yr7+Sg3W3G9Xl64PHRtxvV5euDx1kth+RZ4bYzzxYFFmkhxhozGzm1TyjNqGJSMxyIVU+aLlvJWtrjHKKBfbjery9cHjo243q8vXB46ZxjlFZjZ3k2SeFBAhkdHMixnNtDI2BkzVoVmXyGDsMS6UNzeigvttt6vL1weOjbjery9cHjr59lLY5aZXtDtZseeezWlAXibMyJaFE0VzPdi2qkIJGgiMjhYg/RbNCkaLGgCqihFUcCqouAH+1AvZZS08l6Mm9x6GwG/TLzWNFSRH/qH6KP4paKCM2ZGtD40Rroo/OUNd5UvLU250Wpj7C/KvMf3h+ij+KWmqBfc6LUx9hflRudFqY+wvypiigrrZk+O+Peo+NH4F5G/KmdzotTH2F+Vebbwx9KPc1NUC+50Wpj7C/Kjc6LUx9hflTFFAq+TorjvMXBzF+VQ2DJ8eZj3qPi1/AvIPyp5+A+yocn8TH0a+4UBudFqY+wvyo3Oi1MfYX5UxRQL7nRamPsL8qVsmT48cu9R8aPwLq4vyqypSx+fN0o/xxUHvc6LUx9hflRudFqY+wvypiigX3Oi1MfYX5UtJk+PPoM1H5j/AIF5Y/yqxpWXj4/4P746D1udFqY+wvyo3Oi1MfYX5UxRQL7nRamPsL8qWyjk+MQvvUfBzF+VWNK5T4l/ZQLSmBbQlnMK45EaRd6GHCmENe911/lDRw03udFqY+wvypa15NdrXDOsiKsSupjKMzPnMN5DhgFuwj8J9NWNAvudFqY+wvyrm50Wpj7C/KmaKCpgssawu+11kIkluREjLNdI9yi+4dZAr3kzMzxCRYFXynQo6IGSSNmjdDdeLwysLwSDdoJFdzLvZpEhlEMjPKFlK5zAxkfysN4vu9tS5GsBhgWIlDhvF8augN5JvON3JY33lixJJJ9NBLudFqY+wvyo3Oi1MfYX5UxRQJWaBVncIqrvUfmgLfpl5KK9x/eH6KP4paKAj+8P0UfxS01Ve9mDWhyS4uiTzXkT8UvoUi+oMmzQzhs29ovRgrJI1rhdSQGF6SEG4ggg3XUFvRSu5y86XvZ/FRucvOl72fxUBbeGPpR7mpqqy2ZPW+PypeNA42fkb9Vcvhz+1s7Jnc0Zs3nbReIwQuI+Vo0kDTw6eQ0FpRSu5y86XvZ/FRucvOl72fxUDD8B9lQ5P4mPo19wrw+TluPlS8Gtn8VVrSwwwQmRrR5YVFWM2yZmbAXICR4j5qseD0UF7RSi5PUi/FN/vLOP+MVd3OXnS97P4qBqlLH583Sj/HFXdzl50vez+KkM1HGJ5JJJFRJLyxln0DNxcjaT/wA0FzRSFmsySIHU2gAi8B3tUTf7o5BH+4qXc5edL3s/ioGqVl4+P+D++Ojc5edL3s/ipaTJ655Bil8x/wDVn5Y/1UFnRVPHaIWtG18VqElzMA+3UVlQqGZZGuVgC68BPnCntzl50vez+KgapXKfEv7KNzl50vez+Klso5PUQucUvBrZ/FQWdFU9qtMEcqxPLMHbDoD2pgucYpHjcG5MTgquIi8i4U9ucvOl72fxUDVcpbc5edL3s/io3OXnS97P4qAyd5h6WX/I9NVTJHFFA8skkqqskhLZ2c6BI40ANeSdAuGkk1PYFimjzkbzFbyumS0oyspKsrKzAqQQRcRQWVFK7nLzpe9n8VG5y86XvZ/FQEf3h+ij+KWio7LAFnkALHe4/OZ39MvOJurtB6Xj5LuHNJdfy3y0lkDJskbTySiNDNKJc1E7zKpwqrNnHVSSSOC64AC7009H94foo/ilpqgKKKKBW28MfSj3NVbZ9jWC37aWWQqyTY43IN8kpgII8m/CFhu0nRhQDQKsrbwx9KPc1NUBRRRQeX4D7KoMsZJe0WKJI0jZwgKSSSSwmBzGUEyNGpJYYjovF950ir9+A+yocn8TH0a+4UEsSkKATiIABY6MRHpr3RRQFUeVcmG0Q2iJSt+fjkAYsqsYhZ5QjFdIDYMJI0gG/TV5Slj8+bpR/jioIcgWB4bOI5CCcbsFVmdY0d2dIVZgCyopCgkDzeADQLGiigKVl4+P+D++OmqVl4+P+D++OghsuTmFpltEhUllWKIC/e4VGI33/iaRmJu9Cx8lWFFFAUrlPiX9lNUrlPiX9lBTZY2OSS22O0KUAXM3MWdWjzUrSSDNgXTB1KqMZGAriGmtHRRQFFFFBVS2ITWWWIqHxPLcpZovLEjlTnFBKEMAcQBIuvr1seyU0EJV2xO8rzOcTP5TknDiYAtcMIvuF919w4Azk7zD0sv+R6aoCiiigVj+8P0UfxS0UR/eH6KP4paKCJoS1oe6R03qPQojN/lS85TUu1G18vVD4KE49+ij+KWsFbYGay3CK1OBugIQ8dqZ1tkkoexS+WMQOAvhkOhb+EGg3u1G18vVD4KNqNr5eqHwUyvBprtBWWyytfHv8vGj0Q8jfopnaja+Xqh8FFt4Y+lHuaqdyBb7ViFpwtYogWUWrDiUzYhEyi4NhePRGcRJ5RQXG1G18vVD4KNqNr5eqHwUpsVJ3PswYOrCzRqyyK6OHVQrBlYAg3g8NWtAo9ka47/LwckPgqGwWVszHv8ALxa+iHkH6KffgPsrPZe+4QECYkTWV7oRM5uWSJnLLECSuAOSCLtHsoLnaja+Xqh8FG1G18vVD4KpMlopynM6QyQ4Y2jYmKZBanLIzTNIVwsFuCppJ8qT8N1+loFdqNr5eqHwUrZLK2Obf5eNHoh1cX6KtKrZLsFpxY7sRvzecx3ZqPzc35V/8dNAxtRtfL1Q+Cjaja+Xqh8FZGzw4hkwiGXPpHCJC0FoSQRqjKwM7ACNVbGWQ6X8kaL1v3FArtRtfL1Q+ClpLK2fTf5fMf0Q8sf6Ks6Vl4+P+D++OgNqNr5eqHwUbUbXy9UPgrP2mKZrZa0s+cUvHZ/LlNpjjuUy55YZSrBWwsnmaAWvuvvqz2IxOuTrMsqlHWzorIS5KkKBccQBvuuvvHDfw8NA7tRtfL1Q+Clso2Vsy+/y8HJD4Ks6VynxL+ygNqNr5eqHwUbUbXy9UPgqpyyP+vg4+42edGZFndFxBMN4UFQ2hrr9Po9NR7BYM3Z3jCAIkgRJhDJZWtCiOO+V45NOLFiUn04KC62o2vl6ofBRtRtfL1Q+CmqKCssFlbAd/l42T0Q6x/0UztRtfL1Q+CoobsxJixXY5r8GPFdjkvw4PKvu4MOnk01jbAJg1gYxO+CyWSNY54J2Ky42jtjlzdmZEQI2JxewW4X3m8NvtRtfL1Q+Cjaja+Xqh8FNUUCNliKzyXuz73HpbALtMvNArte4/vD9FH8UtFAR/eH6KP4paapBse2HwYOKjvxYudLyVLv37X96Bqild+/a/vRv37X96AtvDH0o9zU1VbbM7fHxXGjn8jUxv37X96Bqild+/a/vRv37X96Bh+A+yocn8TH0a+4V4fO3HiuD9dQ2DO5mPiuLXn8goLGild+/a/vRv37X96BqlLH583Sj/HFXd+/a/vS1kzuObiuNHP1cVBZ0Urvv7X96N+/a/vQNUrLx8f8AB/fHRv37X96XlzufTivMfn8sdBZUUrv37X96N+/a/vQNUrlPiX9lG/ftf3pfKOdzL8VwfroLKild+/a/vRv37X96Bqild+/a/vRv37X96Ayf5h6WX/I9NVWZPzuA8VxsnP1j0zvv7X96Bqild+/a/vRv37X96Aj+8P0UfxS0VHZcWfkx4eKjuw38svLXaD2nHv0UfxS1lpbbJJY2C2yQzm3TWWF4jEuJzI6pjUKb1jjUuRw4YzWpj+8P0UfxS1LFZEXzY0XTi8lVGm66/R6btFB7QXAC8m4XXm68/mbq9UUUCtt4Y+lHuas3l/K8iS2tEtAF0FkMaEoubaaaSJ/KuJQMAgLkHBeGuN1x0lt4Y+lHuapGsaEsTGhLLhYlVJZToKk+kXAaPyoK3Ypa2ksitIzMwkljJYqxGblkQJjGh8IULi/Fhv8ATVxXmOMKoVQFAFwVQAABwAAcAr1QeX4D7KosrWxorHZ3WbNb/ZUYnB5cbyRI8flcF6s3Bp0VevwH2UrZbOrwRh0Vxm1NzAML8N19x9poKLI1un3RkhlZ2GCaRhigeNFEqLZcAQ4o74i4IcC9ozdfcTWpqOOBVLFVVSxxMVABZuC83cJqSgKqLbaESK0vLM0CBwWlQgMowQ6F0HSeAAC8k6NN1W9JWeIM0ysoYGUXqwBB3uLhBoMfZMrziWIPaWLA2YLBihfOx2iedJBIUG+OkKLeVNwaFjwE372oEsUYKlY4wUvCkKowBvOC6NF/puqegKVl4+P+D++OmqVl4+P+D++OgzNuykwktpgtrYYrNIWLtC4jtS3FViUjQEW9WvvF7qNLK12oyfNjhje8NijVsQuN5IGnRQbBHexzUd7C5jhW9hw3E3adIHVU0cYUBVAUDQFAAAHIAKD1SuU+Jf2U1SuU+Jf2UFRlu2XW2COO0sj3h5IS0YjFm8oM7qwvLMblW433reNCvXvYjazJHK4naeIzbw8jI7mLAl7EqB5LOJGW/ThYcAIAuJLIjMGaNGYcDMqkj06CeCuwWVEvCIiXm8hFC3nlN1BLRRRQVjzKllleSUwopmLTAgGNQ8l7gkG672Vm0yhIIrLIbW+I2tUzbSQs+1pZykayRBd8coVQ6QU0t5RU4tZYkBjYMAQZZQQdIIzj6CK9pk+JSpWKMFb8JCqCuLhwm7Rf+VAxRRRQKx/eH6KP4paKI/vD9FH8UtFBE0rC0PhjL71HpvUXeVLy1Ltl9Se0leWYCWQsbgIUJOkXC+a81hJbfM1ikksUkkkJnzoAtDPPCiiERxMzksodhJIy33gMF0XtcG92xJqD2ko2xJqD2kpkV2grbZaHvj3k8aPxJyNTG2X1J7SUW3hj6Ue5qymW7Sj2u0Rx202ZkszJK0k8qrnHERQpFjGBUQEl0w8Zwk47g1e2H1J7SUbYk1B7SUnsVtOOyI1x8+RQxklnEgV3USrJISzIwAYXngYXXi41bUCj2h7jvJ4OclQ2C0PmY95PFr+JOQU+/AfZWW2U2pFsESGVoZJFCQyiWSzrHKU46RlIBVBe2Fr7yAACSKDQ7Yk1J7SUbYk1B7SVnNjmUXa3zLI2cLGYkB5f+njilVYFaInCokiZXVgAThY+VebtbQK7Yk1B7SUtZLQ+ObeTxo/Emriqzqkynao44LU85cRhxizbPG58iEBVZSCCSQOEDTpIF9BY7ZfUntJRtiTUHtJWXyVAZGsaraJZGVTPLLFaJ5IhCjMI7OSGwynGwTEwJZYHv03VsqBXbEmoPaSl5LQ+fTeT5j/iTljqypWXj4/4P746A2y+pPaSjbEmpPaSsTlnKKma0Zi0sgWSOKVJJ5rjJn487IVxXwQKt8ZZbgc4dFygnVbFJmawws5ctg0s5LFriQGDHS6kAFWOkrcTpJoHNsSag9pKXyjaHzL7yeDnJVlSuU+Jf2UBth9Se0lG2H1J7SVQ7IrSu3YIY7QYJyMeJpXWPNnGqpmS2GV3fRdcSApN4IW/mwSWRklxPnIwyKkmee1q8gRc80czgYlLXcGgHFwG8AL/AGxJqD2ko2xJqD2kpqigrMn2h8B3k8bJ+JNY9M7ZfUntJS+NBZpDK5RMcuNwzR4Vzj3tjUgr7QRdWIsVukvjBnlJEsYsuGWZ0nvtjraMBJ3+MQZsXvfcl5Fw00G/2xJqD2ko2xJqD2kpqigRssjGeTEmDeo9F4N+mXkrte4/vD9FH8UtFAR/eH6KP4paapB7SFtD3hzfFH5qSP8Ail9Kg1LuivNl7qfw0DVFK7orzZe6n8NG6K82Xup/DQFt4Y+lHuamqrLZlBb4/Jl40Hip+Rv00zuivNl7qfw0DVFK7orzZe6n8NG6K82Xup/DQMPwH2VDk/iY+jX3CvD5RW4+TLwaqfw1DYMoLmY/Jl4tf9KfkH6aCxopXdFebL3U/ho3RXmy91P4aBqlLH583Sj/ABxV3dFebL3U/hpWyZQXHL5MvGj/AEp9XF+mgtKKV3RXmy91P4aN0V5svdT+GgapWXj4/wCD++OjdFebL3U/hpaTKC59Dhl8x/8ASn5Y/wBNBZ0UruivNl7qfw0borzZe6n8NA1SuU+Jf2UborzZe6n8NLZRygphcYZeDVT+Ggs6KV3RXmy91P4aN0V5svdT+GgaopXdFebL3U/ho3RXmy91P4aAyf5h6WX/ACPTVVtitoVSCso3yQ8VNwM7EHzeQimN0V5svdT+GgaopXdFebL3U/ho3RXmy91P4aAj+8P0UfxS0VHZZw08hAYb3H5yunpl5wF9doPace/RR++Ws2mVLQglRpsTRZQs0V80ceNrPO8KMRmiFAYu5U3EgC4i/SNIovncHSM0guPp0y0uuxuyiPNCyWfN487m82mHOAXB7rvOAAAPoAHJQWIrtFFArbeGPpR7mpqlbbwx9KPc1NUBRRRQeX4D7KhyfxMfRr7hUz8B9lQ5P4mPo19woGKKKKApSx+fN0o/xxU3Slj8+bpR/jioG6KKKApWXj4/4P746apWXj4/4P746BqiiigKVynxL+ymqVynxL+ygaoqqyjbLQryCOHEqwl0IXEWkANy3Y1v03DDovvvxClLLb7aSMdniUZ3Cbr783jhGIeVzHmOnV8A4CGgorPPly2AkDJZIBcBs/HpCC8NddwPwL+fDcNNRTZatocFbBemZDmMkFhKTpjx4gDcLuBeXhoNNRWbbLNtJI2jm1uUh8SzkG/SMAZMRuI9IAuJvPBXVy5bMRG5puvOEmVV0KwAv0HhGn/jTw0GjorO2fLdsJIbJ5QXMQ2NTdcGwrd+I4govvA0k8FxMliyra2mVZLEEjbCMQkDFD5RZjo0i7ALtGkNpN4oLSP7w/RR/FLRRH94foo/ilooIzaUW0PjdVvijuxELf5UvLU26MWuj7a/OpytcwDkFBDujFro+2vzo3Ri10fbX51NgHIKMA5BQIWy3x3x77HxoPnryN+dM7oxa6Ptr86nwDkFcwDkFBDujFro+2vzo3Ri10fbX51NgHIKMA5BQLvlCK477Hwc9fnUNgyhHmY99j4tfxLyD86ewDkFGAcgoId0YtdH21+dG6MWuj7a/OpsA5BRgHIKCHdGLXR9tfnStkt8eOXfY+NH4l1cX51YYByCu4ByCgg3Ri10fbX50boxa6Ptr86mwDkFGAcgoId0YtdH21+dLSW+PPoc7H5j/jXlT86fwDkFdwDkFBBujFro+2vzo3Ri10fbX51NgHIKMA5BQQ7oxa6Ptr86Wyjb4zC4EsfBz1+dP4ByCu4ByCgg3Ri1sfbX50boxa6Ptr86mwDkFGAcgoId0YtdH21+dG6MWtj7a/OpsA5BRgHIKCHdGLXR9tfnRujFrY+2vzqbAOQUYByCgh3Ri1sfbX50boxa6Ptr86mwDkFGAcgoFLNOrTuVZW3uPzSGu0y8lFOAUUH/2Q=="/>
          <p:cNvSpPr>
            <a:spLocks noChangeAspect="1" noChangeArrowheads="1"/>
          </p:cNvSpPr>
          <p:nvPr/>
        </p:nvSpPr>
        <p:spPr bwMode="auto">
          <a:xfrm>
            <a:off x="4572000" y="-971550"/>
            <a:ext cx="2352675" cy="1943100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3188" name="AutoShape 4" descr="data:image/jpg;base64,/9j/4AAQSkZJRgABAQAAAQABAAD/2wCEAAkGBhQSDhQQEA8QEBQUEBkQFA4QFhEQFBAQFBwWFRUQFRQYHycqFxkjGRUTHy8iIycsLCwsFR4xQTIqNSYrLSkBCQoKBQUFDQUFDSkYEhgpKSkpKSkpKSkpKSkpKSkpKSkpKSkpKSkpKSkpKSkpKSkpKSkpKSkpKSkpKSkpKSkpKf/AABEIAMwA9wMBIgACEQEDEQH/xAAbAAACAwEBAQAAAAAAAAAAAAAABAMFBgECB//EAEkQAAIBAQMEDQkIAQMDBQEAAAECAwAEERIFEyFTBhQVIzEzUVJzkZKT0iIyQVRxsbLR0wc0QmFiY3Kis0OBoSR0dRY1NsHCCP/EABQBAQAAAAAAAAAAAAAAAAAAAAD/xAAUEQEAAAAAAAAAAAAAAAAAAAAA/9oADAMBAAIRAxEAPwD7PLaXzhRERrkViWcp5xYXABTzf+a5nJtXF3j/AE67H94foo/ilpqgUzk2ri7x/p0ZybVxd4/06booFM5Nq4u8f6dGcm1cXeP9Om6KBTOTauLvH+nRnJtXF3j/AE6booFM5Nq4u8f6dGcm1cXeP9Om6KBTOTauLvH+nRnJtXF3j/TrL5O+0FpctS5KNjwtCpkefPBlzVyFXC4LyTnI9HovOnRV3YNl1kmWV4bVFKsK4pShLZpdOluTzT1Ggdzk2ri7x/p0ZybVxd4/06rZNnNhWBLQ1tgELsUSYtcjuvnKG4CR/wDR5KnynssslnEZtFqihEq4o84cOcGjzb+HhGj86BvOTauLvH+nRnJtXF3j/TqOfL0CWiOzPMizSrijhN+J106VHpHknqqHZRsijsNjltc2IpGAcK6WdmIVUH5liBQNZybVxd4/06M5Nq4u8f6dYXYr9sAtNshslpsEtia0xCazu7iRZkYMVbzVuDBWuOm8i6qu1f8A9ARLLI0eT55bLHMIXtiuo8psWErGRpvCORew0D0UH07OTauLvH+nRnJtXF3j/TrH7LPtjsNiiVlfbUsiJIlniNzZuRQ6u7Eb2CjAgHSbxo9Ij2WfbNZLEqLcbROwUtZYmF8IYBt8e64EXjRw/kKDaZybVxd4/wBOjOTauLvH+nTQNdoFM5Nq4u8f6dGcm1cXeP8ATpuigUzk2ri7x/p0ZybVxd4/06booFM5Nq4u8f6dGcm1cXeP9Om6KBTOTauLvH+nRnJtXF3j/TpuigWs1oYuyOiqQqterFwQxYelRd5v/NFcj+8P0UfxS0UBH94foo/ilpqlY/vD9FH8UtNUBRRRQFFFFAUUUUBRRRQfJtjv/wA5yh/2Q+Gx1P8AZMdGWf8AyU3/AOqNhViefZPlDKcattUxbWSZlZBLKogVgmIDEAYXvI/Llq+H2evFPa3sVuazJbWMk0LRJNhka/FJC5YYCcR4Qw6hQfNNkf8A8Lyb/wB2nvtNfTPtY2ObcyTMqm6WAbbhN9xDxXkge1cS+0jkrxsk+zGO05Ns+TYp2s8NnZXBwCV3KBlUkkgaS7k6NJPopj/0VO00882UM7JLYmsKnMIiQxu2JmCB/KY/meTkuoEfs0tj5QUZXnW5mgWxwryLHcbTLcDozk4YfxiWtXsgyLBarM0FrQPCbnZWZox5BxAllIIAIv4fRSOwfYtudYlsYmz6ozFHKCMgOS5U3E3+UW06OGvOz/ItoteTZrLZJEiklATHIWVc2SM4pKgnSt44PTQfKNg9lGU9kBtkCFLFk6IQ2cHEd7jVo7OgLabz5chvvI4Dw18/yd/7Ba//ACFl+C019m+znYRlbJ7xwSTZP2mHd5o4gxlkLKbjiMYvN+AcPAt1Ze0fYdlBBNYoJrIbJLaUnz0hkEqiISKgKheG6Q3gX3kDSNNAl9p2S4l2O5JtCwxrK8MKvMqqHdRZxcGYC9rsK3X8F1TfbrkyJLPk2ZIY0kkRs5KiqrS3JBdjYDyrrzw8tbn7QvsymteS7HYbJJENq4VxTlkxIkebB8lW0nQaj+077NrTlGz2KKzvZ1azKwcys6gkrGow4UN+lDw3eig+lrwV2uCu0BRRRQFFFFAUUUUBRRRQKx/eH6KP4paKI/vD9FH8UtFBE8xW0PdG771HpUxi7ypecwqXbjery9cHjoRv+ofoo/ilpLZRY89Y5IlMt7YQDCY8YuZTiukIV1F17KfOUMum+6gd22/q8vXB46NuN6vL1weOvncOxm1XPnLLGpkzUxWJohEjR2aeJogpbyTnGW4C8DH51wJGm2FZJls2ejm0qrJFBKSpaSzIt8eO4+egbNknhzd/poL7bjery9cHjo243q8vXB46ZxjlFUmzHJW2rC9mUm+Ro1xIQGjGcQmUEkaVALcuigstuN6vL1weOjbjery9cHjr53FsZtmcd7TDtgSSvJLEjxYZJpbJCiugZh5CTCdBfcRjVrvSHtj2xy1w2yB5TnUJU2h2dTdaYbKIBaUBN5Ehd1bRffGhu0mg223G9Xl64PHRtxvV5euDx0xjHKK7jHKKBbbbery9cHjo22/q8vXB46zuXtjQmyhFKIUZTZ5xLKSuic7W2uTeb9Gae64XDTzjfl//AEraTHZcVlJzUMEMqE2aQsYbLaonNzOAymWWIAk+jFoABoPpW3G9Xl64PHRtxvV5euDx1NEwwjgGgaL77vyvr3jHKKBbbjery9cHjo22/q8vXB46yez3Y5NaZFay6C9knsssiuEZL83PAwvIv32HBo9ExqqtOxm0GYytZsRlsV7qu12CWyV7TK6B2cFcBmj8pb8QQLwUH0Hbjery9cHjo243q8vXB46zmwTJMsAkzq5lGis6LAWVrpo4gs81ykhcTYRoOnNk+nTrMY5RQLbcb1eXrg8dG239Xl64PHXu1QJIhjkCurC5kPAw5DyivmE2wu07TjWODNynJ1viluaC9rRNm1gQnHdeVQjEOD0kUH0zbjery9cHjo243q8vXB46yWxzIU0dsxPFgRbRaZw+KMqUnWEIoAN+IYXBF1wwfmL9tjHKKBbbjery9cHjo22/q8vXB46YxjlFfPdkWxSeaXKEixK2cezmAERFnwizrI6uXGFQElBQ3Yr7+Sg3W3G9Xl64PHRtxvV5euDx1kth+RZ4bYzzxYFFmkhxhozGzm1TyjNqGJSMxyIVU+aLlvJWtrjHKKBfbjery9cHjo243q8vXB46ZxjlFZjZ3k2SeFBAhkdHMixnNtDI2BkzVoVmXyGDsMS6UNzeigvttt6vL1weOjbjery9cHjr59lLY5aZXtDtZseeezWlAXibMyJaFE0VzPdi2qkIJGgiMjhYg/RbNCkaLGgCqihFUcCqouAH+1AvZZS08l6Mm9x6GwG/TLzWNFSRH/qH6KP4paKCM2ZGtD40Rroo/OUNd5UvLU250Wpj7C/KvMf3h+ij+KWmqBfc6LUx9hflRudFqY+wvypiigrrZk+O+Peo+NH4F5G/KmdzotTH2F+Vebbwx9KPc1NUC+50Wpj7C/Kjc6LUx9hflTFFAq+TorjvMXBzF+VQ2DJ8eZj3qPi1/AvIPyp5+A+yocn8TH0a+4UBudFqY+wvyo3Oi1MfYX5UxRQL7nRamPsL8qVsmT48cu9R8aPwLq4vyqypSx+fN0o/xxUHvc6LUx9hflRudFqY+wvypiigX3Oi1MfYX5UtJk+PPoM1H5j/AIF5Y/yqxpWXj4/4P746D1udFqY+wvyo3Oi1MfYX5UxRQL7nRamPsL8qWyjk+MQvvUfBzF+VWNK5T4l/ZQLSmBbQlnMK45EaRd6GHCmENe911/lDRw03udFqY+wvypa15NdrXDOsiKsSupjKMzPnMN5DhgFuwj8J9NWNAvudFqY+wvyrm50Wpj7C/KmaKCpgssawu+11kIkluREjLNdI9yi+4dZAr3kzMzxCRYFXynQo6IGSSNmjdDdeLwysLwSDdoJFdzLvZpEhlEMjPKFlK5zAxkfysN4vu9tS5GsBhgWIlDhvF8augN5JvON3JY33lixJJJ9NBLudFqY+wvyo3Oi1MfYX5UxRQJWaBVncIqrvUfmgLfpl5KK9x/eH6KP4paKAj+8P0UfxS01Ve9mDWhyS4uiTzXkT8UvoUi+oMmzQzhs29ovRgrJI1rhdSQGF6SEG4ggg3XUFvRSu5y86XvZ/FRucvOl72fxUBbeGPpR7mpqqy2ZPW+PypeNA42fkb9Vcvhz+1s7Jnc0Zs3nbReIwQuI+Vo0kDTw6eQ0FpRSu5y86XvZ/FRucvOl72fxUDD8B9lQ5P4mPo19wrw+TluPlS8Gtn8VVrSwwwQmRrR5YVFWM2yZmbAXICR4j5qseD0UF7RSi5PUi/FN/vLOP+MVd3OXnS97P4qBqlLH583Sj/HFXdzl50vez+KkM1HGJ5JJJFRJLyxln0DNxcjaT/wA0FzRSFmsySIHU2gAi8B3tUTf7o5BH+4qXc5edL3s/ioGqVl4+P+D++Ojc5edL3s/ipaTJ655Bil8x/wDVn5Y/1UFnRVPHaIWtG18VqElzMA+3UVlQqGZZGuVgC68BPnCntzl50vez+KgapXKfEv7KNzl50vez+Klso5PUQucUvBrZ/FQWdFU9qtMEcqxPLMHbDoD2pgucYpHjcG5MTgquIi8i4U9ucvOl72fxUDVcpbc5edL3s/io3OXnS97P4qAyd5h6WX/I9NVTJHFFA8skkqqskhLZ2c6BI40ANeSdAuGkk1PYFimjzkbzFbyumS0oyspKsrKzAqQQRcRQWVFK7nLzpe9n8VG5y86XvZ/FQEf3h+ij+KWio7LAFnkALHe4/OZ39MvOJurtB6Xj5LuHNJdfy3y0lkDJskbTySiNDNKJc1E7zKpwqrNnHVSSSOC64AC7009H94foo/ilpqgKKKKBW28MfSj3NVbZ9jWC37aWWQqyTY43IN8kpgII8m/CFhu0nRhQDQKsrbwx9KPc1NUBRRRQeX4D7KoMsZJe0WKJI0jZwgKSSSSwmBzGUEyNGpJYYjovF950ir9+A+yocn8TH0a+4UEsSkKATiIABY6MRHpr3RRQFUeVcmG0Q2iJSt+fjkAYsqsYhZ5QjFdIDYMJI0gG/TV5Slj8+bpR/jioIcgWB4bOI5CCcbsFVmdY0d2dIVZgCyopCgkDzeADQLGiigKVl4+P+D++OmqVl4+P+D++OghsuTmFpltEhUllWKIC/e4VGI33/iaRmJu9Cx8lWFFFAUrlPiX9lNUrlPiX9lBTZY2OSS22O0KUAXM3MWdWjzUrSSDNgXTB1KqMZGAriGmtHRRQFFFFBVS2ITWWWIqHxPLcpZovLEjlTnFBKEMAcQBIuvr1seyU0EJV2xO8rzOcTP5TknDiYAtcMIvuF919w4Azk7zD0sv+R6aoCiiigVj+8P0UfxS0UR/eH6KP4paKCJoS1oe6R03qPQojN/lS85TUu1G18vVD4KE49+ij+KWsFbYGay3CK1OBugIQ8dqZ1tkkoexS+WMQOAvhkOhb+EGg3u1G18vVD4KNqNr5eqHwUyvBprtBWWyytfHv8vGj0Q8jfopnaja+Xqh8FFt4Y+lHuaqdyBb7ViFpwtYogWUWrDiUzYhEyi4NhePRGcRJ5RQXG1G18vVD4KNqNr5eqHwUpsVJ3PswYOrCzRqyyK6OHVQrBlYAg3g8NWtAo9ka47/LwckPgqGwWVszHv8ALxa+iHkH6KffgPsrPZe+4QECYkTWV7oRM5uWSJnLLECSuAOSCLtHsoLnaja+Xqh8FG1G18vVD4KpMlopynM6QyQ4Y2jYmKZBanLIzTNIVwsFuCppJ8qT8N1+loFdqNr5eqHwUrZLK2Obf5eNHoh1cX6KtKrZLsFpxY7sRvzecx3ZqPzc35V/8dNAxtRtfL1Q+Cjaja+Xqh8FZGzw4hkwiGXPpHCJC0FoSQRqjKwM7ACNVbGWQ6X8kaL1v3FArtRtfL1Q+ClpLK2fTf5fMf0Q8sf6Ks6Vl4+P+D++OgNqNr5eqHwUbUbXy9UPgrP2mKZrZa0s+cUvHZ/LlNpjjuUy55YZSrBWwsnmaAWvuvvqz2IxOuTrMsqlHWzorIS5KkKBccQBvuuvvHDfw8NA7tRtfL1Q+Clso2Vsy+/y8HJD4Ks6VynxL+ygNqNr5eqHwUbUbXy9UPgqpyyP+vg4+42edGZFndFxBMN4UFQ2hrr9Po9NR7BYM3Z3jCAIkgRJhDJZWtCiOO+V45NOLFiUn04KC62o2vl6ofBRtRtfL1Q+CmqKCssFlbAd/l42T0Q6x/0UztRtfL1Q+CoobsxJixXY5r8GPFdjkvw4PKvu4MOnk01jbAJg1gYxO+CyWSNY54J2Ky42jtjlzdmZEQI2JxewW4X3m8NvtRtfL1Q+Cjaja+Xqh8FNUUCNliKzyXuz73HpbALtMvNArte4/vD9FH8UtFAR/eH6KP4paapBse2HwYOKjvxYudLyVLv37X96Bqild+/a/vRv37X96AtvDH0o9zU1VbbM7fHxXGjn8jUxv37X96Bqild+/a/vRv37X96Bh+A+yocn8TH0a+4V4fO3HiuD9dQ2DO5mPiuLXn8goLGild+/a/vRv37X96BqlLH583Sj/HFXd+/a/vS1kzuObiuNHP1cVBZ0Urvv7X96N+/a/vQNUrLx8f8AB/fHRv37X96XlzufTivMfn8sdBZUUrv37X96N+/a/vQNUrlPiX9lG/ftf3pfKOdzL8VwfroLKild+/a/vRv37X96Bqild+/a/vRv37X96Ayf5h6WX/I9NVWZPzuA8VxsnP1j0zvv7X96Bqild+/a/vRv37X96Aj+8P0UfxS0VHZcWfkx4eKjuw38svLXaD2nHv0UfxS1lpbbJJY2C2yQzm3TWWF4jEuJzI6pjUKb1jjUuRw4YzWpj+8P0UfxS1LFZEXzY0XTi8lVGm66/R6btFB7QXAC8m4XXm68/mbq9UUUCtt4Y+lHuas3l/K8iS2tEtAF0FkMaEoubaaaSJ/KuJQMAgLkHBeGuN1x0lt4Y+lHuapGsaEsTGhLLhYlVJZToKk+kXAaPyoK3Ypa2ksitIzMwkljJYqxGblkQJjGh8IULi/Fhv8ATVxXmOMKoVQFAFwVQAABwAAcAr1QeX4D7KosrWxorHZ3WbNb/ZUYnB5cbyRI8flcF6s3Bp0VevwH2UrZbOrwRh0Vxm1NzAML8N19x9poKLI1un3RkhlZ2GCaRhigeNFEqLZcAQ4o74i4IcC9ozdfcTWpqOOBVLFVVSxxMVABZuC83cJqSgKqLbaESK0vLM0CBwWlQgMowQ6F0HSeAAC8k6NN1W9JWeIM0ysoYGUXqwBB3uLhBoMfZMrziWIPaWLA2YLBihfOx2iedJBIUG+OkKLeVNwaFjwE372oEsUYKlY4wUvCkKowBvOC6NF/puqegKVl4+P+D++OmqVl4+P+D++OgzNuykwktpgtrYYrNIWLtC4jtS3FViUjQEW9WvvF7qNLK12oyfNjhje8NijVsQuN5IGnRQbBHexzUd7C5jhW9hw3E3adIHVU0cYUBVAUDQFAAAHIAKD1SuU+Jf2U1SuU+Jf2UFRlu2XW2COO0sj3h5IS0YjFm8oM7qwvLMblW433reNCvXvYjazJHK4naeIzbw8jI7mLAl7EqB5LOJGW/ThYcAIAuJLIjMGaNGYcDMqkj06CeCuwWVEvCIiXm8hFC3nlN1BLRRRQVjzKllleSUwopmLTAgGNQ8l7gkG672Vm0yhIIrLIbW+I2tUzbSQs+1pZykayRBd8coVQ6QU0t5RU4tZYkBjYMAQZZQQdIIzj6CK9pk+JSpWKMFb8JCqCuLhwm7Rf+VAxRRRQKx/eH6KP4paKI/vD9FH8UtFBE0rC0PhjL71HpvUXeVLy1Ltl9Se0leWYCWQsbgIUJOkXC+a81hJbfM1ikksUkkkJnzoAtDPPCiiERxMzksodhJIy33gMF0XtcG92xJqD2ko2xJqD2kpkV2grbZaHvj3k8aPxJyNTG2X1J7SUW3hj6Ue5qymW7Sj2u0Rx202ZkszJK0k8qrnHERQpFjGBUQEl0w8Zwk47g1e2H1J7SUbYk1B7SUnsVtOOyI1x8+RQxklnEgV3USrJISzIwAYXngYXXi41bUCj2h7jvJ4OclQ2C0PmY95PFr+JOQU+/AfZWW2U2pFsESGVoZJFCQyiWSzrHKU46RlIBVBe2Fr7yAACSKDQ7Yk1J7SUbYk1B7SVnNjmUXa3zLI2cLGYkB5f+njilVYFaInCokiZXVgAThY+VebtbQK7Yk1B7SUtZLQ+ObeTxo/Emriqzqkynao44LU85cRhxizbPG58iEBVZSCCSQOEDTpIF9BY7ZfUntJRtiTUHtJWXyVAZGsaraJZGVTPLLFaJ5IhCjMI7OSGwynGwTEwJZYHv03VsqBXbEmoPaSl5LQ+fTeT5j/iTljqypWXj4/4P746A2y+pPaSjbEmpPaSsTlnKKma0Zi0sgWSOKVJJ5rjJn487IVxXwQKt8ZZbgc4dFygnVbFJmawws5ctg0s5LFriQGDHS6kAFWOkrcTpJoHNsSag9pKXyjaHzL7yeDnJVlSuU+Jf2UBth9Se0lG2H1J7SVQ7IrSu3YIY7QYJyMeJpXWPNnGqpmS2GV3fRdcSApN4IW/mwSWRklxPnIwyKkmee1q8gRc80czgYlLXcGgHFwG8AL/AGxJqD2ko2xJqD2kpqigrMn2h8B3k8bJ+JNY9M7ZfUntJS+NBZpDK5RMcuNwzR4Vzj3tjUgr7QRdWIsVukvjBnlJEsYsuGWZ0nvtjraMBJ3+MQZsXvfcl5Fw00G/2xJqD2ko2xJqD2kpqigRssjGeTEmDeo9F4N+mXkrte4/vD9FH8UtFAR/eH6KP4paapB7SFtD3hzfFH5qSP8Ail9Kg1LuivNl7qfw0DVFK7orzZe6n8NG6K82Xup/DQFt4Y+lHuamqrLZlBb4/Jl40Hip+Rv00zuivNl7qfw0DVFK7orzZe6n8NG6K82Xup/DQMPwH2VDk/iY+jX3CvD5RW4+TLwaqfw1DYMoLmY/Jl4tf9KfkH6aCxopXdFebL3U/ho3RXmy91P4aBqlLH583Sj/ABxV3dFebL3U/hpWyZQXHL5MvGj/AEp9XF+mgtKKV3RXmy91P4aN0V5svdT+GgapWXj4/wCD++OjdFebL3U/hpaTKC59Dhl8x/8ASn5Y/wBNBZ0UruivNl7qfw0borzZe6n8NA1SuU+Jf2UborzZe6n8NLZRygphcYZeDVT+Ggs6KV3RXmy91P4aN0V5svdT+GgaopXdFebL3U/ho3RXmy91P4aAyf5h6WX/ACPTVVtitoVSCso3yQ8VNwM7EHzeQimN0V5svdT+GgaopXdFebL3U/ho3RXmy91P4aAj+8P0UfxS0VHZZw08hAYb3H5yunpl5wF9doPace/RR++Ws2mVLQglRpsTRZQs0V80ceNrPO8KMRmiFAYu5U3EgC4i/SNIovncHSM0guPp0y0uuxuyiPNCyWfN487m82mHOAXB7rvOAAAPoAHJQWIrtFFArbeGPpR7mpqlbbwx9KPc1NUBRRRQeX4D7KhyfxMfRr7hUz8B9lQ5P4mPo19woGKKKKApSx+fN0o/xxU3Slj8+bpR/jioG6KKKApWXj4/4P746apWXj4/4P746BqiiigKVynxL+ymqVynxL+ygaoqqyjbLQryCOHEqwl0IXEWkANy3Y1v03DDovvvxClLLb7aSMdniUZ3Cbr783jhGIeVzHmOnV8A4CGgorPPly2AkDJZIBcBs/HpCC8NddwPwL+fDcNNRTZatocFbBemZDmMkFhKTpjx4gDcLuBeXhoNNRWbbLNtJI2jm1uUh8SzkG/SMAZMRuI9IAuJvPBXVy5bMRG5puvOEmVV0KwAv0HhGn/jTw0GjorO2fLdsJIbJ5QXMQ2NTdcGwrd+I4govvA0k8FxMliyra2mVZLEEjbCMQkDFD5RZjo0i7ALtGkNpN4oLSP7w/RR/FLRRH94foo/ilooIzaUW0PjdVvijuxELf5UvLU26MWuj7a/OpytcwDkFBDujFro+2vzo3Ri10fbX51NgHIKMA5BQIWy3x3x77HxoPnryN+dM7oxa6Ptr86nwDkFcwDkFBDujFro+2vzo3Ri10fbX51NgHIKMA5BQLvlCK477Hwc9fnUNgyhHmY99j4tfxLyD86ewDkFGAcgoId0YtdH21+dG6MWuj7a/OpsA5BRgHIKCHdGLXR9tfnStkt8eOXfY+NH4l1cX51YYByCu4ByCgg3Ri10fbX50boxa6Ptr86mwDkFGAcgoId0YtdH21+dLSW+PPoc7H5j/jXlT86fwDkFdwDkFBBujFro+2vzo3Ri10fbX51NgHIKMA5BQQ7oxa6Ptr86Wyjb4zC4EsfBz1+dP4ByCu4ByCgg3Ri1sfbX50boxa6Ptr86mwDkFGAcgoId0YtdH21+dG6MWtj7a/OpsA5BRgHIKCHdGLXR9tfnRujFrY+2vzqbAOQUYByCgh3Ri1sfbX50boxa6Ptr86mwDkFGAcgoFLNOrTuVZW3uPzSGu0y8lFOAUUH/2Q=="/>
          <p:cNvSpPr>
            <a:spLocks noChangeAspect="1" noChangeArrowheads="1"/>
          </p:cNvSpPr>
          <p:nvPr/>
        </p:nvSpPr>
        <p:spPr bwMode="auto">
          <a:xfrm>
            <a:off x="79375" y="-727075"/>
            <a:ext cx="1828800" cy="1504950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5122" name="Picture 2" descr="http://assets3.pulsdcdn.com/system/images/8939/original/oakland-as.jpg?1296319061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814932" y="3581400"/>
            <a:ext cx="1600200" cy="1600200"/>
          </a:xfrm>
          <a:prstGeom prst="rect">
            <a:avLst/>
          </a:prstGeom>
          <a:noFill/>
        </p:spPr>
      </p:pic>
    </p:spTree>
    <p:custDataLst>
      <p:tags r:id="rId1"/>
    </p:custDataLst>
  </p:cSld>
  <p:clrMapOvr>
    <a:masterClrMapping/>
  </p:clrMapOvr>
  <p:transition xmlns:p14="http://schemas.microsoft.com/office/powerpoint/2010/main">
    <p:cut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8353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90800" y="1219200"/>
            <a:ext cx="5416550" cy="5562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</p:spTree>
    <p:custDataLst>
      <p:tags r:id="rId1"/>
    </p:custData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 noChangeArrowheads="1"/>
          </p:cNvSpPr>
          <p:nvPr/>
        </p:nvSpPr>
        <p:spPr bwMode="gray">
          <a:xfrm>
            <a:off x="1447800" y="1066800"/>
            <a:ext cx="8077200" cy="5867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9" tIns="36571" rIns="36571" bIns="36571"/>
          <a:lstStyle/>
          <a:p>
            <a:pPr marL="458788" lvl="1" indent="-457200" defTabSz="1019175" eaLnBrk="0" hangingPunct="0">
              <a:buClr>
                <a:schemeClr val="folHlink"/>
              </a:buClr>
              <a:buSzPct val="125000"/>
              <a:buFont typeface="+mj-lt"/>
              <a:buAutoNum type="arabicPeriod"/>
            </a:pPr>
            <a:endParaRPr lang="en-US" sz="1800" dirty="0" smtClean="0">
              <a:solidFill>
                <a:schemeClr val="bg2"/>
              </a:solidFill>
            </a:endParaRPr>
          </a:p>
          <a:p>
            <a:pPr marL="344488" lvl="3" indent="-342900" defTabSz="1019175" eaLnBrk="0" hangingPunct="0">
              <a:buClr>
                <a:schemeClr val="folHlink"/>
              </a:buClr>
              <a:buSzPct val="125000"/>
              <a:buFont typeface="+mj-lt"/>
              <a:buAutoNum type="arabicPeriod"/>
            </a:pPr>
            <a:r>
              <a:rPr lang="en-US" sz="1800" b="1" u="sng" dirty="0" smtClean="0">
                <a:solidFill>
                  <a:schemeClr val="bg2"/>
                </a:solidFill>
                <a:sym typeface="Wingdings" pitchFamily="2" charset="2"/>
              </a:rPr>
              <a:t>Capital Markets Finance</a:t>
            </a:r>
            <a:r>
              <a:rPr lang="en-US" sz="1800" dirty="0" smtClean="0">
                <a:solidFill>
                  <a:schemeClr val="accent1"/>
                </a:solidFill>
                <a:sym typeface="Wingdings" pitchFamily="2" charset="2"/>
              </a:rPr>
              <a:t>:  The constant, high-pressure world of the Regental cycle and the University’s use of debt financing</a:t>
            </a:r>
          </a:p>
          <a:p>
            <a:pPr marL="690563" lvl="4" indent="-231775" defTabSz="1019175" eaLnBrk="0" hangingPunct="0">
              <a:buClr>
                <a:schemeClr val="folHlink"/>
              </a:buClr>
              <a:buSzPct val="125000"/>
              <a:buFont typeface="Arial" pitchFamily="34" charset="0"/>
              <a:buChar char="•"/>
            </a:pPr>
            <a:endParaRPr lang="en-US" sz="1800" u="sng" dirty="0" smtClean="0">
              <a:solidFill>
                <a:schemeClr val="accent1"/>
              </a:solidFill>
              <a:sym typeface="Wingdings" pitchFamily="2" charset="2"/>
            </a:endParaRPr>
          </a:p>
          <a:p>
            <a:pPr marL="344488" lvl="3" indent="-342900" defTabSz="1019175" eaLnBrk="0" hangingPunct="0">
              <a:buClr>
                <a:schemeClr val="folHlink"/>
              </a:buClr>
              <a:buSzPct val="125000"/>
              <a:buFont typeface="+mj-lt"/>
              <a:buAutoNum type="arabicPeriod"/>
            </a:pPr>
            <a:r>
              <a:rPr lang="en-US" sz="1800" b="1" u="sng" dirty="0" smtClean="0">
                <a:solidFill>
                  <a:schemeClr val="bg2"/>
                </a:solidFill>
                <a:sym typeface="Wingdings" pitchFamily="2" charset="2"/>
              </a:rPr>
              <a:t>Financial Services &amp; Controls (Connexxus)</a:t>
            </a:r>
            <a:r>
              <a:rPr lang="en-US" sz="1800" dirty="0" smtClean="0">
                <a:solidFill>
                  <a:schemeClr val="accent1"/>
                </a:solidFill>
                <a:sym typeface="Wingdings" pitchFamily="2" charset="2"/>
              </a:rPr>
              <a:t>:  The use of mandates at UC and driving volume to the UC-wide travel program</a:t>
            </a:r>
          </a:p>
          <a:p>
            <a:pPr marL="344488" lvl="3" indent="-342900" defTabSz="1019175" eaLnBrk="0" hangingPunct="0">
              <a:buClr>
                <a:schemeClr val="folHlink"/>
              </a:buClr>
              <a:buSzPct val="125000"/>
              <a:buFont typeface="+mj-lt"/>
              <a:buAutoNum type="arabicPeriod"/>
            </a:pPr>
            <a:endParaRPr lang="en-US" sz="1800" b="1" u="sng" dirty="0" smtClean="0">
              <a:solidFill>
                <a:schemeClr val="bg2"/>
              </a:solidFill>
              <a:sym typeface="Wingdings" pitchFamily="2" charset="2"/>
            </a:endParaRPr>
          </a:p>
          <a:p>
            <a:pPr marL="344488" lvl="3" indent="-342900" defTabSz="1019175" eaLnBrk="0" hangingPunct="0">
              <a:buClr>
                <a:schemeClr val="folHlink"/>
              </a:buClr>
              <a:buSzPct val="125000"/>
              <a:buFont typeface="+mj-lt"/>
              <a:buAutoNum type="arabicPeriod"/>
            </a:pPr>
            <a:r>
              <a:rPr lang="en-US" sz="1800" b="1" u="sng" dirty="0" smtClean="0">
                <a:solidFill>
                  <a:schemeClr val="bg2"/>
                </a:solidFill>
                <a:sym typeface="Wingdings" pitchFamily="2" charset="2"/>
              </a:rPr>
              <a:t>Financial Services &amp; Controls (BRC)</a:t>
            </a:r>
            <a:r>
              <a:rPr lang="en-US" sz="1800" dirty="0" smtClean="0">
                <a:solidFill>
                  <a:schemeClr val="accent1"/>
                </a:solidFill>
                <a:sym typeface="Wingdings" pitchFamily="2" charset="2"/>
              </a:rPr>
              <a:t>:  The difference between contractors and consultants and relevant state laws that affect choices</a:t>
            </a:r>
          </a:p>
          <a:p>
            <a:pPr marL="344488" lvl="3" indent="-342900" defTabSz="1019175" eaLnBrk="0" hangingPunct="0">
              <a:buClr>
                <a:schemeClr val="folHlink"/>
              </a:buClr>
              <a:buSzPct val="125000"/>
              <a:buFont typeface="+mj-lt"/>
              <a:buAutoNum type="arabicPeriod"/>
            </a:pPr>
            <a:endParaRPr lang="en-US" sz="1800" b="1" u="sng" dirty="0" smtClean="0">
              <a:solidFill>
                <a:schemeClr val="bg2"/>
              </a:solidFill>
              <a:sym typeface="Wingdings" pitchFamily="2" charset="2"/>
            </a:endParaRPr>
          </a:p>
          <a:p>
            <a:pPr marL="344488" lvl="3" indent="-342900" defTabSz="1019175" eaLnBrk="0" hangingPunct="0">
              <a:buClr>
                <a:schemeClr val="folHlink"/>
              </a:buClr>
              <a:buSzPct val="125000"/>
              <a:buFont typeface="+mj-lt"/>
              <a:buAutoNum type="arabicPeriod"/>
            </a:pPr>
            <a:r>
              <a:rPr lang="en-US" sz="1800" b="1" u="sng" dirty="0" smtClean="0">
                <a:solidFill>
                  <a:schemeClr val="bg2"/>
                </a:solidFill>
                <a:sym typeface="Wingdings" pitchFamily="2" charset="2"/>
              </a:rPr>
              <a:t>Procurement Services</a:t>
            </a:r>
            <a:r>
              <a:rPr lang="en-US" sz="1800" dirty="0" smtClean="0">
                <a:solidFill>
                  <a:schemeClr val="accent1"/>
                </a:solidFill>
                <a:sym typeface="Wingdings" pitchFamily="2" charset="2"/>
              </a:rPr>
              <a:t>:  Delivering the best possible strategic sourcing program for UC while also delivering the best deal for campus</a:t>
            </a:r>
          </a:p>
          <a:p>
            <a:pPr marL="344488" lvl="3" indent="-342900" defTabSz="1019175" eaLnBrk="0" hangingPunct="0">
              <a:buClr>
                <a:schemeClr val="folHlink"/>
              </a:buClr>
              <a:buSzPct val="125000"/>
              <a:buFont typeface="+mj-lt"/>
              <a:buAutoNum type="arabicPeriod"/>
            </a:pPr>
            <a:endParaRPr lang="en-US" sz="1800" b="1" u="sng" dirty="0" smtClean="0">
              <a:solidFill>
                <a:schemeClr val="bg2"/>
              </a:solidFill>
              <a:sym typeface="Wingdings" pitchFamily="2" charset="2"/>
            </a:endParaRPr>
          </a:p>
          <a:p>
            <a:pPr marL="344488" lvl="3" indent="-342900" defTabSz="1019175" eaLnBrk="0" hangingPunct="0">
              <a:buClr>
                <a:schemeClr val="folHlink"/>
              </a:buClr>
              <a:buSzPct val="125000"/>
              <a:buFont typeface="+mj-lt"/>
              <a:buAutoNum type="arabicPeriod"/>
            </a:pPr>
            <a:r>
              <a:rPr lang="en-US" sz="1800" b="1" u="sng" dirty="0" smtClean="0">
                <a:solidFill>
                  <a:schemeClr val="bg2"/>
                </a:solidFill>
                <a:sym typeface="Wingdings" pitchFamily="2" charset="2"/>
              </a:rPr>
              <a:t>Risk Services</a:t>
            </a:r>
            <a:r>
              <a:rPr lang="en-US" sz="1800" dirty="0" smtClean="0">
                <a:solidFill>
                  <a:schemeClr val="accent1"/>
                </a:solidFill>
                <a:sym typeface="Wingdings" pitchFamily="2" charset="2"/>
              </a:rPr>
              <a:t>:  The ever-expanding universe of risk and the specific tools available online through Enterprise Risk Management</a:t>
            </a:r>
          </a:p>
          <a:p>
            <a:pPr marL="344488" lvl="3" indent="-342900" defTabSz="1019175" eaLnBrk="0" hangingPunct="0">
              <a:buClr>
                <a:schemeClr val="folHlink"/>
              </a:buClr>
              <a:buSzPct val="125000"/>
              <a:buFont typeface="+mj-lt"/>
              <a:buAutoNum type="arabicPeriod"/>
            </a:pPr>
            <a:endParaRPr lang="en-US" sz="1800" b="1" u="sng" dirty="0" smtClean="0">
              <a:solidFill>
                <a:schemeClr val="bg2"/>
              </a:solidFill>
              <a:sym typeface="Wingdings" pitchFamily="2" charset="2"/>
            </a:endParaRPr>
          </a:p>
          <a:p>
            <a:pPr marL="344488" lvl="3" indent="-342900" defTabSz="1019175" eaLnBrk="0" hangingPunct="0">
              <a:buClr>
                <a:schemeClr val="folHlink"/>
              </a:buClr>
              <a:buSzPct val="125000"/>
              <a:buFont typeface="+mj-lt"/>
              <a:buAutoNum type="arabicPeriod"/>
            </a:pPr>
            <a:r>
              <a:rPr lang="en-US" sz="1800" b="1" u="sng" dirty="0" smtClean="0">
                <a:solidFill>
                  <a:schemeClr val="bg2"/>
                </a:solidFill>
                <a:sym typeface="Wingdings" pitchFamily="2" charset="2"/>
              </a:rPr>
              <a:t>Financial Accounting (Endowment &amp; Investment Accounting)</a:t>
            </a:r>
            <a:r>
              <a:rPr lang="en-US" sz="1800" dirty="0" smtClean="0">
                <a:solidFill>
                  <a:schemeClr val="accent1"/>
                </a:solidFill>
                <a:sym typeface="Wingdings" pitchFamily="2" charset="2"/>
              </a:rPr>
              <a:t>:  Transferring gift funds to campuses and the responsibility transition</a:t>
            </a:r>
          </a:p>
          <a:p>
            <a:pPr marL="344488" lvl="3" indent="-342900" defTabSz="1019175" eaLnBrk="0" hangingPunct="0">
              <a:buClr>
                <a:schemeClr val="folHlink"/>
              </a:buClr>
              <a:buSzPct val="125000"/>
              <a:buFont typeface="+mj-lt"/>
              <a:buAutoNum type="arabicPeriod"/>
            </a:pPr>
            <a:endParaRPr lang="en-US" sz="1800" b="1" u="sng" dirty="0" smtClean="0">
              <a:solidFill>
                <a:schemeClr val="accent1"/>
              </a:solidFill>
              <a:sym typeface="Wingdings" pitchFamily="2" charset="2"/>
            </a:endParaRPr>
          </a:p>
          <a:p>
            <a:pPr marL="344488" lvl="3" indent="-342900" defTabSz="1019175" eaLnBrk="0" hangingPunct="0">
              <a:buClr>
                <a:schemeClr val="folHlink"/>
              </a:buClr>
              <a:buSzPct val="125000"/>
              <a:buFont typeface="+mj-lt"/>
              <a:buAutoNum type="arabicPeriod"/>
            </a:pPr>
            <a:r>
              <a:rPr lang="en-US" sz="1800" b="1" u="sng" dirty="0" smtClean="0">
                <a:solidFill>
                  <a:schemeClr val="bg2"/>
                </a:solidFill>
                <a:sym typeface="Wingdings" pitchFamily="2" charset="2"/>
              </a:rPr>
              <a:t>Financial Accounting (Payroll Coordination &amp; Tax Services)</a:t>
            </a:r>
            <a:r>
              <a:rPr lang="en-US" sz="1800" dirty="0" smtClean="0">
                <a:solidFill>
                  <a:schemeClr val="accent1"/>
                </a:solidFill>
                <a:sym typeface="Wingdings" pitchFamily="2" charset="2"/>
              </a:rPr>
              <a:t>:  Using resources and information wisely and complying with IRS</a:t>
            </a:r>
          </a:p>
        </p:txBody>
      </p:sp>
      <p:sp>
        <p:nvSpPr>
          <p:cNvPr id="24577" name="Rectangle 2"/>
          <p:cNvSpPr>
            <a:spLocks noGrp="1" noChangeArrowheads="1"/>
          </p:cNvSpPr>
          <p:nvPr>
            <p:ph type="title"/>
          </p:nvPr>
        </p:nvSpPr>
        <p:spPr>
          <a:xfrm>
            <a:off x="762000" y="838200"/>
            <a:ext cx="8686800" cy="288925"/>
          </a:xfrm>
        </p:spPr>
        <p:txBody>
          <a:bodyPr/>
          <a:lstStyle/>
          <a:p>
            <a:pPr lvl="1"/>
            <a:r>
              <a:rPr lang="en-US" sz="2300" dirty="0" smtClean="0"/>
              <a:t>Follow-Ups:  we came up with 7 case studies during town hall</a:t>
            </a:r>
          </a:p>
        </p:txBody>
      </p:sp>
      <p:sp>
        <p:nvSpPr>
          <p:cNvPr id="56" name="TextBox 55"/>
          <p:cNvSpPr txBox="1"/>
          <p:nvPr/>
        </p:nvSpPr>
        <p:spPr>
          <a:xfrm rot="233865">
            <a:off x="5286126" y="655755"/>
            <a:ext cx="808076" cy="307777"/>
          </a:xfrm>
          <a:prstGeom prst="rect">
            <a:avLst/>
          </a:prstGeom>
          <a:noFill/>
          <a:ln w="5080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Values</a:t>
            </a:r>
          </a:p>
        </p:txBody>
      </p:sp>
      <p:sp>
        <p:nvSpPr>
          <p:cNvPr id="93186" name="AutoShape 2" descr="data:image/jpg;base64,/9j/4AAQSkZJRgABAQAAAQABAAD/2wCEAAkGBhQSDhQQEA8QEBQUEBkQFA4QFhEQFBAQFBwWFRUQFRQYHycqFxkjGRUTHy8iIycsLCwsFR4xQTIqNSYrLSkBCQoKBQUFDQUFDSkYEhgpKSkpKSkpKSkpKSkpKSkpKSkpKSkpKSkpKSkpKSkpKSkpKSkpKSkpKSkpKSkpKSkpKf/AABEIAMwA9wMBIgACEQEDEQH/xAAbAAACAwEBAQAAAAAAAAAAAAAABAMFBgECB//EAEkQAAIBAQMEDQkIAQMDBQEAAAECAwAEERIFEyFTBhQVIzEzUVJzkZKT0iIyQVRxsbLR0wc0QmFiY3Kis0OBoSR0dRY1NsHCCP/EABQBAQAAAAAAAAAAAAAAAAAAAAD/xAAUEQEAAAAAAAAAAAAAAAAAAAAA/9oADAMBAAIRAxEAPwD7PLaXzhRERrkViWcp5xYXABTzf+a5nJtXF3j/AE67H94foo/ilpqgUzk2ri7x/p0ZybVxd4/06booFM5Nq4u8f6dGcm1cXeP9Om6KBTOTauLvH+nRnJtXF3j/AE6booFM5Nq4u8f6dGcm1cXeP9Om6KBTOTauLvH+nRnJtXF3j/TrL5O+0FpctS5KNjwtCpkefPBlzVyFXC4LyTnI9HovOnRV3YNl1kmWV4bVFKsK4pShLZpdOluTzT1Ggdzk2ri7x/p0ZybVxd4/06rZNnNhWBLQ1tgELsUSYtcjuvnKG4CR/wDR5KnynssslnEZtFqihEq4o84cOcGjzb+HhGj86BvOTauLvH+nRnJtXF3j/TqOfL0CWiOzPMizSrijhN+J106VHpHknqqHZRsijsNjltc2IpGAcK6WdmIVUH5liBQNZybVxd4/06M5Nq4u8f6dYXYr9sAtNshslpsEtia0xCazu7iRZkYMVbzVuDBWuOm8i6qu1f8A9ARLLI0eT55bLHMIXtiuo8psWErGRpvCORew0D0UH07OTauLvH+nRnJtXF3j/TrH7LPtjsNiiVlfbUsiJIlniNzZuRQ6u7Eb2CjAgHSbxo9Ij2WfbNZLEqLcbROwUtZYmF8IYBt8e64EXjRw/kKDaZybVxd4/wBOjOTauLvH+nTQNdoFM5Nq4u8f6dGcm1cXeP8ATpuigUzk2ri7x/p0ZybVxd4/06booFM5Nq4u8f6dGcm1cXeP9Om6KBTOTauLvH+nRnJtXF3j/TpuigWs1oYuyOiqQqterFwQxYelRd5v/NFcj+8P0UfxS0UBH94foo/ilpqlY/vD9FH8UtNUBRRRQFFFFAUUUUBRRRQfJtjv/wA5yh/2Q+Gx1P8AZMdGWf8AyU3/AOqNhViefZPlDKcattUxbWSZlZBLKogVgmIDEAYXvI/Llq+H2evFPa3sVuazJbWMk0LRJNhka/FJC5YYCcR4Qw6hQfNNkf8A8Lyb/wB2nvtNfTPtY2ObcyTMqm6WAbbhN9xDxXkge1cS+0jkrxsk+zGO05Ns+TYp2s8NnZXBwCV3KBlUkkgaS7k6NJPopj/0VO00882UM7JLYmsKnMIiQxu2JmCB/KY/meTkuoEfs0tj5QUZXnW5mgWxwryLHcbTLcDozk4YfxiWtXsgyLBarM0FrQPCbnZWZox5BxAllIIAIv4fRSOwfYtudYlsYmz6ozFHKCMgOS5U3E3+UW06OGvOz/ItoteTZrLZJEiklATHIWVc2SM4pKgnSt44PTQfKNg9lGU9kBtkCFLFk6IQ2cHEd7jVo7OgLabz5chvvI4Dw18/yd/7Ba//ACFl+C019m+znYRlbJ7xwSTZP2mHd5o4gxlkLKbjiMYvN+AcPAt1Ze0fYdlBBNYoJrIbJLaUnz0hkEqiISKgKheG6Q3gX3kDSNNAl9p2S4l2O5JtCwxrK8MKvMqqHdRZxcGYC9rsK3X8F1TfbrkyJLPk2ZIY0kkRs5KiqrS3JBdjYDyrrzw8tbn7QvsymteS7HYbJJENq4VxTlkxIkebB8lW0nQaj+077NrTlGz2KKzvZ1azKwcys6gkrGow4UN+lDw3eig+lrwV2uCu0BRRRQFFFFAUUUUBRRRQKx/eH6KP4paKI/vD9FH8UtFBE8xW0PdG771HpUxi7ypecwqXbjery9cHjoRv+ofoo/ilpLZRY89Y5IlMt7YQDCY8YuZTiukIV1F17KfOUMum+6gd22/q8vXB46NuN6vL1weOvncOxm1XPnLLGpkzUxWJohEjR2aeJogpbyTnGW4C8DH51wJGm2FZJls2ejm0qrJFBKSpaSzIt8eO4+egbNknhzd/poL7bjery9cHjo243q8vXB46ZxjlFUmzHJW2rC9mUm+Ro1xIQGjGcQmUEkaVALcuigstuN6vL1weOjbjery9cHjr53FsZtmcd7TDtgSSvJLEjxYZJpbJCiugZh5CTCdBfcRjVrvSHtj2xy1w2yB5TnUJU2h2dTdaYbKIBaUBN5Ehd1bRffGhu0mg223G9Xl64PHRtxvV5euDx0xjHKK7jHKKBbbbery9cHjo22/q8vXB46zuXtjQmyhFKIUZTZ5xLKSuic7W2uTeb9Gae64XDTzjfl//AEraTHZcVlJzUMEMqE2aQsYbLaonNzOAymWWIAk+jFoABoPpW3G9Xl64PHRtxvV5euDx1NEwwjgGgaL77vyvr3jHKKBbbjery9cHjo22/q8vXB46yez3Y5NaZFay6C9knsssiuEZL83PAwvIv32HBo9ExqqtOxm0GYytZsRlsV7qu12CWyV7TK6B2cFcBmj8pb8QQLwUH0Hbjery9cHjo243q8vXB46zmwTJMsAkzq5lGis6LAWVrpo4gs81ykhcTYRoOnNk+nTrMY5RQLbcb1eXrg8dG239Xl64PHXu1QJIhjkCurC5kPAw5DyivmE2wu07TjWODNynJ1viluaC9rRNm1gQnHdeVQjEOD0kUH0zbjery9cHjo243q8vXB46yWxzIU0dsxPFgRbRaZw+KMqUnWEIoAN+IYXBF1wwfmL9tjHKKBbbjery9cHjo22/q8vXB46YxjlFfPdkWxSeaXKEixK2cezmAERFnwizrI6uXGFQElBQ3Yr7+Sg3W3G9Xl64PHRtxvV5euDx1kth+RZ4bYzzxYFFmkhxhozGzm1TyjNqGJSMxyIVU+aLlvJWtrjHKKBfbjery9cHjo243q8vXB46ZxjlFZjZ3k2SeFBAhkdHMixnNtDI2BkzVoVmXyGDsMS6UNzeigvttt6vL1weOjbjery9cHjr59lLY5aZXtDtZseeezWlAXibMyJaFE0VzPdi2qkIJGgiMjhYg/RbNCkaLGgCqihFUcCqouAH+1AvZZS08l6Mm9x6GwG/TLzWNFSRH/qH6KP4paKCM2ZGtD40Rroo/OUNd5UvLU250Wpj7C/KvMf3h+ij+KWmqBfc6LUx9hflRudFqY+wvypiigrrZk+O+Peo+NH4F5G/KmdzotTH2F+Vebbwx9KPc1NUC+50Wpj7C/Kjc6LUx9hflTFFAq+TorjvMXBzF+VQ2DJ8eZj3qPi1/AvIPyp5+A+yocn8TH0a+4UBudFqY+wvyo3Oi1MfYX5UxRQL7nRamPsL8qVsmT48cu9R8aPwLq4vyqypSx+fN0o/xxUHvc6LUx9hflRudFqY+wvypiigX3Oi1MfYX5UtJk+PPoM1H5j/AIF5Y/yqxpWXj4/4P746D1udFqY+wvyo3Oi1MfYX5UxRQL7nRamPsL8qWyjk+MQvvUfBzF+VWNK5T4l/ZQLSmBbQlnMK45EaRd6GHCmENe911/lDRw03udFqY+wvypa15NdrXDOsiKsSupjKMzPnMN5DhgFuwj8J9NWNAvudFqY+wvyrm50Wpj7C/KmaKCpgssawu+11kIkluREjLNdI9yi+4dZAr3kzMzxCRYFXynQo6IGSSNmjdDdeLwysLwSDdoJFdzLvZpEhlEMjPKFlK5zAxkfysN4vu9tS5GsBhgWIlDhvF8augN5JvON3JY33lixJJJ9NBLudFqY+wvyo3Oi1MfYX5UxRQJWaBVncIqrvUfmgLfpl5KK9x/eH6KP4paKAj+8P0UfxS01Ve9mDWhyS4uiTzXkT8UvoUi+oMmzQzhs29ovRgrJI1rhdSQGF6SEG4ggg3XUFvRSu5y86XvZ/FRucvOl72fxUBbeGPpR7mpqqy2ZPW+PypeNA42fkb9Vcvhz+1s7Jnc0Zs3nbReIwQuI+Vo0kDTw6eQ0FpRSu5y86XvZ/FRucvOl72fxUDD8B9lQ5P4mPo19wrw+TluPlS8Gtn8VVrSwwwQmRrR5YVFWM2yZmbAXICR4j5qseD0UF7RSi5PUi/FN/vLOP+MVd3OXnS97P4qBqlLH583Sj/HFXdzl50vez+KkM1HGJ5JJJFRJLyxln0DNxcjaT/wA0FzRSFmsySIHU2gAi8B3tUTf7o5BH+4qXc5edL3s/ioGqVl4+P+D++Ojc5edL3s/ipaTJ655Bil8x/wDVn5Y/1UFnRVPHaIWtG18VqElzMA+3UVlQqGZZGuVgC68BPnCntzl50vez+KgapXKfEv7KNzl50vez+Klso5PUQucUvBrZ/FQWdFU9qtMEcqxPLMHbDoD2pgucYpHjcG5MTgquIi8i4U9ucvOl72fxUDVcpbc5edL3s/io3OXnS97P4qAyd5h6WX/I9NVTJHFFA8skkqqskhLZ2c6BI40ANeSdAuGkk1PYFimjzkbzFbyumS0oyspKsrKzAqQQRcRQWVFK7nLzpe9n8VG5y86XvZ/FQEf3h+ij+KWio7LAFnkALHe4/OZ39MvOJurtB6Xj5LuHNJdfy3y0lkDJskbTySiNDNKJc1E7zKpwqrNnHVSSSOC64AC7009H94foo/ilpqgKKKKBW28MfSj3NVbZ9jWC37aWWQqyTY43IN8kpgII8m/CFhu0nRhQDQKsrbwx9KPc1NUBRRRQeX4D7KoMsZJe0WKJI0jZwgKSSSSwmBzGUEyNGpJYYjovF950ir9+A+yocn8TH0a+4UEsSkKATiIABY6MRHpr3RRQFUeVcmG0Q2iJSt+fjkAYsqsYhZ5QjFdIDYMJI0gG/TV5Slj8+bpR/jioIcgWB4bOI5CCcbsFVmdY0d2dIVZgCyopCgkDzeADQLGiigKVl4+P+D++OmqVl4+P+D++OghsuTmFpltEhUllWKIC/e4VGI33/iaRmJu9Cx8lWFFFAUrlPiX9lNUrlPiX9lBTZY2OSS22O0KUAXM3MWdWjzUrSSDNgXTB1KqMZGAriGmtHRRQFFFFBVS2ITWWWIqHxPLcpZovLEjlTnFBKEMAcQBIuvr1seyU0EJV2xO8rzOcTP5TknDiYAtcMIvuF919w4Azk7zD0sv+R6aoCiiigVj+8P0UfxS0UR/eH6KP4paKCJoS1oe6R03qPQojN/lS85TUu1G18vVD4KE49+ij+KWsFbYGay3CK1OBugIQ8dqZ1tkkoexS+WMQOAvhkOhb+EGg3u1G18vVD4KNqNr5eqHwUyvBprtBWWyytfHv8vGj0Q8jfopnaja+Xqh8FFt4Y+lHuaqdyBb7ViFpwtYogWUWrDiUzYhEyi4NhePRGcRJ5RQXG1G18vVD4KNqNr5eqHwUpsVJ3PswYOrCzRqyyK6OHVQrBlYAg3g8NWtAo9ka47/LwckPgqGwWVszHv8ALxa+iHkH6KffgPsrPZe+4QECYkTWV7oRM5uWSJnLLECSuAOSCLtHsoLnaja+Xqh8FG1G18vVD4KpMlopynM6QyQ4Y2jYmKZBanLIzTNIVwsFuCppJ8qT8N1+loFdqNr5eqHwUrZLK2Obf5eNHoh1cX6KtKrZLsFpxY7sRvzecx3ZqPzc35V/8dNAxtRtfL1Q+Cjaja+Xqh8FZGzw4hkwiGXPpHCJC0FoSQRqjKwM7ACNVbGWQ6X8kaL1v3FArtRtfL1Q+ClpLK2fTf5fMf0Q8sf6Ks6Vl4+P+D++OgNqNr5eqHwUbUbXy9UPgrP2mKZrZa0s+cUvHZ/LlNpjjuUy55YZSrBWwsnmaAWvuvvqz2IxOuTrMsqlHWzorIS5KkKBccQBvuuvvHDfw8NA7tRtfL1Q+Clso2Vsy+/y8HJD4Ks6VynxL+ygNqNr5eqHwUbUbXy9UPgqpyyP+vg4+42edGZFndFxBMN4UFQ2hrr9Po9NR7BYM3Z3jCAIkgRJhDJZWtCiOO+V45NOLFiUn04KC62o2vl6ofBRtRtfL1Q+CmqKCssFlbAd/l42T0Q6x/0UztRtfL1Q+CoobsxJixXY5r8GPFdjkvw4PKvu4MOnk01jbAJg1gYxO+CyWSNY54J2Ky42jtjlzdmZEQI2JxewW4X3m8NvtRtfL1Q+Cjaja+Xqh8FNUUCNliKzyXuz73HpbALtMvNArte4/vD9FH8UtFAR/eH6KP4paapBse2HwYOKjvxYudLyVLv37X96Bqild+/a/vRv37X96AtvDH0o9zU1VbbM7fHxXGjn8jUxv37X96Bqild+/a/vRv37X96Bh+A+yocn8TH0a+4V4fO3HiuD9dQ2DO5mPiuLXn8goLGild+/a/vRv37X96BqlLH583Sj/HFXd+/a/vS1kzuObiuNHP1cVBZ0Urvv7X96N+/a/vQNUrLx8f8AB/fHRv37X96XlzufTivMfn8sdBZUUrv37X96N+/a/vQNUrlPiX9lG/ftf3pfKOdzL8VwfroLKild+/a/vRv37X96Bqild+/a/vRv37X96Ayf5h6WX/I9NVWZPzuA8VxsnP1j0zvv7X96Bqild+/a/vRv37X96Aj+8P0UfxS0VHZcWfkx4eKjuw38svLXaD2nHv0UfxS1lpbbJJY2C2yQzm3TWWF4jEuJzI6pjUKb1jjUuRw4YzWpj+8P0UfxS1LFZEXzY0XTi8lVGm66/R6btFB7QXAC8m4XXm68/mbq9UUUCtt4Y+lHuas3l/K8iS2tEtAF0FkMaEoubaaaSJ/KuJQMAgLkHBeGuN1x0lt4Y+lHuapGsaEsTGhLLhYlVJZToKk+kXAaPyoK3Ypa2ksitIzMwkljJYqxGblkQJjGh8IULi/Fhv8ATVxXmOMKoVQFAFwVQAABwAAcAr1QeX4D7KosrWxorHZ3WbNb/ZUYnB5cbyRI8flcF6s3Bp0VevwH2UrZbOrwRh0Vxm1NzAML8N19x9poKLI1un3RkhlZ2GCaRhigeNFEqLZcAQ4o74i4IcC9ozdfcTWpqOOBVLFVVSxxMVABZuC83cJqSgKqLbaESK0vLM0CBwWlQgMowQ6F0HSeAAC8k6NN1W9JWeIM0ysoYGUXqwBB3uLhBoMfZMrziWIPaWLA2YLBihfOx2iedJBIUG+OkKLeVNwaFjwE372oEsUYKlY4wUvCkKowBvOC6NF/puqegKVl4+P+D++OmqVl4+P+D++OgzNuykwktpgtrYYrNIWLtC4jtS3FViUjQEW9WvvF7qNLK12oyfNjhje8NijVsQuN5IGnRQbBHexzUd7C5jhW9hw3E3adIHVU0cYUBVAUDQFAAAHIAKD1SuU+Jf2U1SuU+Jf2UFRlu2XW2COO0sj3h5IS0YjFm8oM7qwvLMblW433reNCvXvYjazJHK4naeIzbw8jI7mLAl7EqB5LOJGW/ThYcAIAuJLIjMGaNGYcDMqkj06CeCuwWVEvCIiXm8hFC3nlN1BLRRRQVjzKllleSUwopmLTAgGNQ8l7gkG672Vm0yhIIrLIbW+I2tUzbSQs+1pZykayRBd8coVQ6QU0t5RU4tZYkBjYMAQZZQQdIIzj6CK9pk+JSpWKMFb8JCqCuLhwm7Rf+VAxRRRQKx/eH6KP4paKI/vD9FH8UtFBE0rC0PhjL71HpvUXeVLy1Ltl9Se0leWYCWQsbgIUJOkXC+a81hJbfM1ikksUkkkJnzoAtDPPCiiERxMzksodhJIy33gMF0XtcG92xJqD2ko2xJqD2kpkV2grbZaHvj3k8aPxJyNTG2X1J7SUW3hj6Ue5qymW7Sj2u0Rx202ZkszJK0k8qrnHERQpFjGBUQEl0w8Zwk47g1e2H1J7SUbYk1B7SUnsVtOOyI1x8+RQxklnEgV3USrJISzIwAYXngYXXi41bUCj2h7jvJ4OclQ2C0PmY95PFr+JOQU+/AfZWW2U2pFsESGVoZJFCQyiWSzrHKU46RlIBVBe2Fr7yAACSKDQ7Yk1J7SUbYk1B7SVnNjmUXa3zLI2cLGYkB5f+njilVYFaInCokiZXVgAThY+VebtbQK7Yk1B7SUtZLQ+ObeTxo/Emriqzqkynao44LU85cRhxizbPG58iEBVZSCCSQOEDTpIF9BY7ZfUntJRtiTUHtJWXyVAZGsaraJZGVTPLLFaJ5IhCjMI7OSGwynGwTEwJZYHv03VsqBXbEmoPaSl5LQ+fTeT5j/iTljqypWXj4/4P746A2y+pPaSjbEmpPaSsTlnKKma0Zi0sgWSOKVJJ5rjJn487IVxXwQKt8ZZbgc4dFygnVbFJmawws5ctg0s5LFriQGDHS6kAFWOkrcTpJoHNsSag9pKXyjaHzL7yeDnJVlSuU+Jf2UBth9Se0lG2H1J7SVQ7IrSu3YIY7QYJyMeJpXWPNnGqpmS2GV3fRdcSApN4IW/mwSWRklxPnIwyKkmee1q8gRc80czgYlLXcGgHFwG8AL/AGxJqD2ko2xJqD2kpqigrMn2h8B3k8bJ+JNY9M7ZfUntJS+NBZpDK5RMcuNwzR4Vzj3tjUgr7QRdWIsVukvjBnlJEsYsuGWZ0nvtjraMBJ3+MQZsXvfcl5Fw00G/2xJqD2ko2xJqD2kpqigRssjGeTEmDeo9F4N+mXkrte4/vD9FH8UtFAR/eH6KP4paapB7SFtD3hzfFH5qSP8Ail9Kg1LuivNl7qfw0DVFK7orzZe6n8NG6K82Xup/DQFt4Y+lHuamqrLZlBb4/Jl40Hip+Rv00zuivNl7qfw0DVFK7orzZe6n8NG6K82Xup/DQMPwH2VDk/iY+jX3CvD5RW4+TLwaqfw1DYMoLmY/Jl4tf9KfkH6aCxopXdFebL3U/ho3RXmy91P4aBqlLH583Sj/ABxV3dFebL3U/hpWyZQXHL5MvGj/AEp9XF+mgtKKV3RXmy91P4aN0V5svdT+GgapWXj4/wCD++OjdFebL3U/hpaTKC59Dhl8x/8ASn5Y/wBNBZ0UruivNl7qfw0borzZe6n8NA1SuU+Jf2UborzZe6n8NLZRygphcYZeDVT+Ggs6KV3RXmy91P4aN0V5svdT+GgaopXdFebL3U/ho3RXmy91P4aAyf5h6WX/ACPTVVtitoVSCso3yQ8VNwM7EHzeQimN0V5svdT+GgaopXdFebL3U/ho3RXmy91P4aAj+8P0UfxS0VHZZw08hAYb3H5yunpl5wF9doPace/RR++Ws2mVLQglRpsTRZQs0V80ceNrPO8KMRmiFAYu5U3EgC4i/SNIovncHSM0guPp0y0uuxuyiPNCyWfN487m82mHOAXB7rvOAAAPoAHJQWIrtFFArbeGPpR7mpqlbbwx9KPc1NUBRRRQeX4D7KhyfxMfRr7hUz8B9lQ5P4mPo19woGKKKKApSx+fN0o/xxU3Slj8+bpR/jioG6KKKApWXj4/4P746apWXj4/4P746BqiiigKVynxL+ymqVynxL+ygaoqqyjbLQryCOHEqwl0IXEWkANy3Y1v03DDovvvxClLLb7aSMdniUZ3Cbr783jhGIeVzHmOnV8A4CGgorPPly2AkDJZIBcBs/HpCC8NddwPwL+fDcNNRTZatocFbBemZDmMkFhKTpjx4gDcLuBeXhoNNRWbbLNtJI2jm1uUh8SzkG/SMAZMRuI9IAuJvPBXVy5bMRG5puvOEmVV0KwAv0HhGn/jTw0GjorO2fLdsJIbJ5QXMQ2NTdcGwrd+I4govvA0k8FxMliyra2mVZLEEjbCMQkDFD5RZjo0i7ALtGkNpN4oLSP7w/RR/FLRRH94foo/ilooIzaUW0PjdVvijuxELf5UvLU26MWuj7a/OpytcwDkFBDujFro+2vzo3Ri10fbX51NgHIKMA5BQIWy3x3x77HxoPnryN+dM7oxa6Ptr86nwDkFcwDkFBDujFro+2vzo3Ri10fbX51NgHIKMA5BQLvlCK477Hwc9fnUNgyhHmY99j4tfxLyD86ewDkFGAcgoId0YtdH21+dG6MWuj7a/OpsA5BRgHIKCHdGLXR9tfnStkt8eOXfY+NH4l1cX51YYByCu4ByCgg3Ri10fbX50boxa6Ptr86mwDkFGAcgoId0YtdH21+dLSW+PPoc7H5j/jXlT86fwDkFdwDkFBBujFro+2vzo3Ri10fbX51NgHIKMA5BQQ7oxa6Ptr86Wyjb4zC4EsfBz1+dP4ByCu4ByCgg3Ri1sfbX50boxa6Ptr86mwDkFGAcgoId0YtdH21+dG6MWtj7a/OpsA5BRgHIKCHdGLXR9tfnRujFrY+2vzqbAOQUYByCgh3Ri1sfbX50boxa6Ptr86mwDkFGAcgoFLNOrTuVZW3uPzSGu0y8lFOAUUH/2Q=="/>
          <p:cNvSpPr>
            <a:spLocks noChangeAspect="1" noChangeArrowheads="1"/>
          </p:cNvSpPr>
          <p:nvPr/>
        </p:nvSpPr>
        <p:spPr bwMode="auto">
          <a:xfrm>
            <a:off x="4572000" y="-971550"/>
            <a:ext cx="2352675" cy="1943100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3188" name="AutoShape 4" descr="data:image/jpg;base64,/9j/4AAQSkZJRgABAQAAAQABAAD/2wCEAAkGBhQSDhQQEA8QEBQUEBkQFA4QFhEQFBAQFBwWFRUQFRQYHycqFxkjGRUTHy8iIycsLCwsFR4xQTIqNSYrLSkBCQoKBQUFDQUFDSkYEhgpKSkpKSkpKSkpKSkpKSkpKSkpKSkpKSkpKSkpKSkpKSkpKSkpKSkpKSkpKSkpKSkpKf/AABEIAMwA9wMBIgACEQEDEQH/xAAbAAACAwEBAQAAAAAAAAAAAAAABAMFBgECB//EAEkQAAIBAQMEDQkIAQMDBQEAAAECAwAEERIFEyFTBhQVIzEzUVJzkZKT0iIyQVRxsbLR0wc0QmFiY3Kis0OBoSR0dRY1NsHCCP/EABQBAQAAAAAAAAAAAAAAAAAAAAD/xAAUEQEAAAAAAAAAAAAAAAAAAAAA/9oADAMBAAIRAxEAPwD7PLaXzhRERrkViWcp5xYXABTzf+a5nJtXF3j/AE67H94foo/ilpqgUzk2ri7x/p0ZybVxd4/06booFM5Nq4u8f6dGcm1cXeP9Om6KBTOTauLvH+nRnJtXF3j/AE6booFM5Nq4u8f6dGcm1cXeP9Om6KBTOTauLvH+nRnJtXF3j/TrL5O+0FpctS5KNjwtCpkefPBlzVyFXC4LyTnI9HovOnRV3YNl1kmWV4bVFKsK4pShLZpdOluTzT1Ggdzk2ri7x/p0ZybVxd4/06rZNnNhWBLQ1tgELsUSYtcjuvnKG4CR/wDR5KnynssslnEZtFqihEq4o84cOcGjzb+HhGj86BvOTauLvH+nRnJtXF3j/TqOfL0CWiOzPMizSrijhN+J106VHpHknqqHZRsijsNjltc2IpGAcK6WdmIVUH5liBQNZybVxd4/06M5Nq4u8f6dYXYr9sAtNshslpsEtia0xCazu7iRZkYMVbzVuDBWuOm8i6qu1f8A9ARLLI0eT55bLHMIXtiuo8psWErGRpvCORew0D0UH07OTauLvH+nRnJtXF3j/TrH7LPtjsNiiVlfbUsiJIlniNzZuRQ6u7Eb2CjAgHSbxo9Ij2WfbNZLEqLcbROwUtZYmF8IYBt8e64EXjRw/kKDaZybVxd4/wBOjOTauLvH+nTQNdoFM5Nq4u8f6dGcm1cXeP8ATpuigUzk2ri7x/p0ZybVxd4/06booFM5Nq4u8f6dGcm1cXeP9Om6KBTOTauLvH+nRnJtXF3j/TpuigWs1oYuyOiqQqterFwQxYelRd5v/NFcj+8P0UfxS0UBH94foo/ilpqlY/vD9FH8UtNUBRRRQFFFFAUUUUBRRRQfJtjv/wA5yh/2Q+Gx1P8AZMdGWf8AyU3/AOqNhViefZPlDKcattUxbWSZlZBLKogVgmIDEAYXvI/Llq+H2evFPa3sVuazJbWMk0LRJNhka/FJC5YYCcR4Qw6hQfNNkf8A8Lyb/wB2nvtNfTPtY2ObcyTMqm6WAbbhN9xDxXkge1cS+0jkrxsk+zGO05Ns+TYp2s8NnZXBwCV3KBlUkkgaS7k6NJPopj/0VO00882UM7JLYmsKnMIiQxu2JmCB/KY/meTkuoEfs0tj5QUZXnW5mgWxwryLHcbTLcDozk4YfxiWtXsgyLBarM0FrQPCbnZWZox5BxAllIIAIv4fRSOwfYtudYlsYmz6ozFHKCMgOS5U3E3+UW06OGvOz/ItoteTZrLZJEiklATHIWVc2SM4pKgnSt44PTQfKNg9lGU9kBtkCFLFk6IQ2cHEd7jVo7OgLabz5chvvI4Dw18/yd/7Ba//ACFl+C019m+znYRlbJ7xwSTZP2mHd5o4gxlkLKbjiMYvN+AcPAt1Ze0fYdlBBNYoJrIbJLaUnz0hkEqiISKgKheG6Q3gX3kDSNNAl9p2S4l2O5JtCwxrK8MKvMqqHdRZxcGYC9rsK3X8F1TfbrkyJLPk2ZIY0kkRs5KiqrS3JBdjYDyrrzw8tbn7QvsymteS7HYbJJENq4VxTlkxIkebB8lW0nQaj+077NrTlGz2KKzvZ1azKwcys6gkrGow4UN+lDw3eig+lrwV2uCu0BRRRQFFFFAUUUUBRRRQKx/eH6KP4paKI/vD9FH8UtFBE8xW0PdG771HpUxi7ypecwqXbjery9cHjoRv+ofoo/ilpLZRY89Y5IlMt7YQDCY8YuZTiukIV1F17KfOUMum+6gd22/q8vXB46NuN6vL1weOvncOxm1XPnLLGpkzUxWJohEjR2aeJogpbyTnGW4C8DH51wJGm2FZJls2ejm0qrJFBKSpaSzIt8eO4+egbNknhzd/poL7bjery9cHjo243q8vXB46ZxjlFUmzHJW2rC9mUm+Ro1xIQGjGcQmUEkaVALcuigstuN6vL1weOjbjery9cHjr53FsZtmcd7TDtgSSvJLEjxYZJpbJCiugZh5CTCdBfcRjVrvSHtj2xy1w2yB5TnUJU2h2dTdaYbKIBaUBN5Ehd1bRffGhu0mg223G9Xl64PHRtxvV5euDx0xjHKK7jHKKBbbbery9cHjo22/q8vXB46zuXtjQmyhFKIUZTZ5xLKSuic7W2uTeb9Gae64XDTzjfl//AEraTHZcVlJzUMEMqE2aQsYbLaonNzOAymWWIAk+jFoABoPpW3G9Xl64PHRtxvV5euDx1NEwwjgGgaL77vyvr3jHKKBbbjery9cHjo22/q8vXB46yez3Y5NaZFay6C9knsssiuEZL83PAwvIv32HBo9ExqqtOxm0GYytZsRlsV7qu12CWyV7TK6B2cFcBmj8pb8QQLwUH0Hbjery9cHjo243q8vXB46zmwTJMsAkzq5lGis6LAWVrpo4gs81ykhcTYRoOnNk+nTrMY5RQLbcb1eXrg8dG239Xl64PHXu1QJIhjkCurC5kPAw5DyivmE2wu07TjWODNynJ1viluaC9rRNm1gQnHdeVQjEOD0kUH0zbjery9cHjo243q8vXB46yWxzIU0dsxPFgRbRaZw+KMqUnWEIoAN+IYXBF1wwfmL9tjHKKBbbjery9cHjo22/q8vXB46YxjlFfPdkWxSeaXKEixK2cezmAERFnwizrI6uXGFQElBQ3Yr7+Sg3W3G9Xl64PHRtxvV5euDx1kth+RZ4bYzzxYFFmkhxhozGzm1TyjNqGJSMxyIVU+aLlvJWtrjHKKBfbjery9cHjo243q8vXB46ZxjlFZjZ3k2SeFBAhkdHMixnNtDI2BkzVoVmXyGDsMS6UNzeigvttt6vL1weOjbjery9cHjr59lLY5aZXtDtZseeezWlAXibMyJaFE0VzPdi2qkIJGgiMjhYg/RbNCkaLGgCqihFUcCqouAH+1AvZZS08l6Mm9x6GwG/TLzWNFSRH/qH6KP4paKCM2ZGtD40Rroo/OUNd5UvLU250Wpj7C/KvMf3h+ij+KWmqBfc6LUx9hflRudFqY+wvypiigrrZk+O+Peo+NH4F5G/KmdzotTH2F+Vebbwx9KPc1NUC+50Wpj7C/Kjc6LUx9hflTFFAq+TorjvMXBzF+VQ2DJ8eZj3qPi1/AvIPyp5+A+yocn8TH0a+4UBudFqY+wvyo3Oi1MfYX5UxRQL7nRamPsL8qVsmT48cu9R8aPwLq4vyqypSx+fN0o/xxUHvc6LUx9hflRudFqY+wvypiigX3Oi1MfYX5UtJk+PPoM1H5j/AIF5Y/yqxpWXj4/4P746D1udFqY+wvyo3Oi1MfYX5UxRQL7nRamPsL8qWyjk+MQvvUfBzF+VWNK5T4l/ZQLSmBbQlnMK45EaRd6GHCmENe911/lDRw03udFqY+wvypa15NdrXDOsiKsSupjKMzPnMN5DhgFuwj8J9NWNAvudFqY+wvyrm50Wpj7C/KmaKCpgssawu+11kIkluREjLNdI9yi+4dZAr3kzMzxCRYFXynQo6IGSSNmjdDdeLwysLwSDdoJFdzLvZpEhlEMjPKFlK5zAxkfysN4vu9tS5GsBhgWIlDhvF8augN5JvON3JY33lixJJJ9NBLudFqY+wvyo3Oi1MfYX5UxRQJWaBVncIqrvUfmgLfpl5KK9x/eH6KP4paKAj+8P0UfxS01Ve9mDWhyS4uiTzXkT8UvoUi+oMmzQzhs29ovRgrJI1rhdSQGF6SEG4ggg3XUFvRSu5y86XvZ/FRucvOl72fxUBbeGPpR7mpqqy2ZPW+PypeNA42fkb9Vcvhz+1s7Jnc0Zs3nbReIwQuI+Vo0kDTw6eQ0FpRSu5y86XvZ/FRucvOl72fxUDD8B9lQ5P4mPo19wrw+TluPlS8Gtn8VVrSwwwQmRrR5YVFWM2yZmbAXICR4j5qseD0UF7RSi5PUi/FN/vLOP+MVd3OXnS97P4qBqlLH583Sj/HFXdzl50vez+KkM1HGJ5JJJFRJLyxln0DNxcjaT/wA0FzRSFmsySIHU2gAi8B3tUTf7o5BH+4qXc5edL3s/ioGqVl4+P+D++Ojc5edL3s/ipaTJ655Bil8x/wDVn5Y/1UFnRVPHaIWtG18VqElzMA+3UVlQqGZZGuVgC68BPnCntzl50vez+KgapXKfEv7KNzl50vez+Klso5PUQucUvBrZ/FQWdFU9qtMEcqxPLMHbDoD2pgucYpHjcG5MTgquIi8i4U9ucvOl72fxUDVcpbc5edL3s/io3OXnS97P4qAyd5h6WX/I9NVTJHFFA8skkqqskhLZ2c6BI40ANeSdAuGkk1PYFimjzkbzFbyumS0oyspKsrKzAqQQRcRQWVFK7nLzpe9n8VG5y86XvZ/FQEf3h+ij+KWio7LAFnkALHe4/OZ39MvOJurtB6Xj5LuHNJdfy3y0lkDJskbTySiNDNKJc1E7zKpwqrNnHVSSSOC64AC7009H94foo/ilpqgKKKKBW28MfSj3NVbZ9jWC37aWWQqyTY43IN8kpgII8m/CFhu0nRhQDQKsrbwx9KPc1NUBRRRQeX4D7KoMsZJe0WKJI0jZwgKSSSSwmBzGUEyNGpJYYjovF950ir9+A+yocn8TH0a+4UEsSkKATiIABY6MRHpr3RRQFUeVcmG0Q2iJSt+fjkAYsqsYhZ5QjFdIDYMJI0gG/TV5Slj8+bpR/jioIcgWB4bOI5CCcbsFVmdY0d2dIVZgCyopCgkDzeADQLGiigKVl4+P+D++OmqVl4+P+D++OghsuTmFpltEhUllWKIC/e4VGI33/iaRmJu9Cx8lWFFFAUrlPiX9lNUrlPiX9lBTZY2OSS22O0KUAXM3MWdWjzUrSSDNgXTB1KqMZGAriGmtHRRQFFFFBVS2ITWWWIqHxPLcpZovLEjlTnFBKEMAcQBIuvr1seyU0EJV2xO8rzOcTP5TknDiYAtcMIvuF919w4Azk7zD0sv+R6aoCiiigVj+8P0UfxS0UR/eH6KP4paKCJoS1oe6R03qPQojN/lS85TUu1G18vVD4KE49+ij+KWsFbYGay3CK1OBugIQ8dqZ1tkkoexS+WMQOAvhkOhb+EGg3u1G18vVD4KNqNr5eqHwUyvBprtBWWyytfHv8vGj0Q8jfopnaja+Xqh8FFt4Y+lHuaqdyBb7ViFpwtYogWUWrDiUzYhEyi4NhePRGcRJ5RQXG1G18vVD4KNqNr5eqHwUpsVJ3PswYOrCzRqyyK6OHVQrBlYAg3g8NWtAo9ka47/LwckPgqGwWVszHv8ALxa+iHkH6KffgPsrPZe+4QECYkTWV7oRM5uWSJnLLECSuAOSCLtHsoLnaja+Xqh8FG1G18vVD4KpMlopynM6QyQ4Y2jYmKZBanLIzTNIVwsFuCppJ8qT8N1+loFdqNr5eqHwUrZLK2Obf5eNHoh1cX6KtKrZLsFpxY7sRvzecx3ZqPzc35V/8dNAxtRtfL1Q+Cjaja+Xqh8FZGzw4hkwiGXPpHCJC0FoSQRqjKwM7ACNVbGWQ6X8kaL1v3FArtRtfL1Q+ClpLK2fTf5fMf0Q8sf6Ks6Vl4+P+D++OgNqNr5eqHwUbUbXy9UPgrP2mKZrZa0s+cUvHZ/LlNpjjuUy55YZSrBWwsnmaAWvuvvqz2IxOuTrMsqlHWzorIS5KkKBccQBvuuvvHDfw8NA7tRtfL1Q+Clso2Vsy+/y8HJD4Ks6VynxL+ygNqNr5eqHwUbUbXy9UPgqpyyP+vg4+42edGZFndFxBMN4UFQ2hrr9Po9NR7BYM3Z3jCAIkgRJhDJZWtCiOO+V45NOLFiUn04KC62o2vl6ofBRtRtfL1Q+CmqKCssFlbAd/l42T0Q6x/0UztRtfL1Q+CoobsxJixXY5r8GPFdjkvw4PKvu4MOnk01jbAJg1gYxO+CyWSNY54J2Ky42jtjlzdmZEQI2JxewW4X3m8NvtRtfL1Q+Cjaja+Xqh8FNUUCNliKzyXuz73HpbALtMvNArte4/vD9FH8UtFAR/eH6KP4paapBse2HwYOKjvxYudLyVLv37X96Bqild+/a/vRv37X96AtvDH0o9zU1VbbM7fHxXGjn8jUxv37X96Bqild+/a/vRv37X96Bh+A+yocn8TH0a+4V4fO3HiuD9dQ2DO5mPiuLXn8goLGild+/a/vRv37X96BqlLH583Sj/HFXd+/a/vS1kzuObiuNHP1cVBZ0Urvv7X96N+/a/vQNUrLx8f8AB/fHRv37X96XlzufTivMfn8sdBZUUrv37X96N+/a/vQNUrlPiX9lG/ftf3pfKOdzL8VwfroLKild+/a/vRv37X96Bqild+/a/vRv37X96Ayf5h6WX/I9NVWZPzuA8VxsnP1j0zvv7X96Bqild+/a/vRv37X96Aj+8P0UfxS0VHZcWfkx4eKjuw38svLXaD2nHv0UfxS1lpbbJJY2C2yQzm3TWWF4jEuJzI6pjUKb1jjUuRw4YzWpj+8P0UfxS1LFZEXzY0XTi8lVGm66/R6btFB7QXAC8m4XXm68/mbq9UUUCtt4Y+lHuas3l/K8iS2tEtAF0FkMaEoubaaaSJ/KuJQMAgLkHBeGuN1x0lt4Y+lHuapGsaEsTGhLLhYlVJZToKk+kXAaPyoK3Ypa2ksitIzMwkljJYqxGblkQJjGh8IULi/Fhv8ATVxXmOMKoVQFAFwVQAABwAAcAr1QeX4D7KosrWxorHZ3WbNb/ZUYnB5cbyRI8flcF6s3Bp0VevwH2UrZbOrwRh0Vxm1NzAML8N19x9poKLI1un3RkhlZ2GCaRhigeNFEqLZcAQ4o74i4IcC9ozdfcTWpqOOBVLFVVSxxMVABZuC83cJqSgKqLbaESK0vLM0CBwWlQgMowQ6F0HSeAAC8k6NN1W9JWeIM0ysoYGUXqwBB3uLhBoMfZMrziWIPaWLA2YLBihfOx2iedJBIUG+OkKLeVNwaFjwE372oEsUYKlY4wUvCkKowBvOC6NF/puqegKVl4+P+D++OmqVl4+P+D++OgzNuykwktpgtrYYrNIWLtC4jtS3FViUjQEW9WvvF7qNLK12oyfNjhje8NijVsQuN5IGnRQbBHexzUd7C5jhW9hw3E3adIHVU0cYUBVAUDQFAAAHIAKD1SuU+Jf2U1SuU+Jf2UFRlu2XW2COO0sj3h5IS0YjFm8oM7qwvLMblW433reNCvXvYjazJHK4naeIzbw8jI7mLAl7EqB5LOJGW/ThYcAIAuJLIjMGaNGYcDMqkj06CeCuwWVEvCIiXm8hFC3nlN1BLRRRQVjzKllleSUwopmLTAgGNQ8l7gkG672Vm0yhIIrLIbW+I2tUzbSQs+1pZykayRBd8coVQ6QU0t5RU4tZYkBjYMAQZZQQdIIzj6CK9pk+JSpWKMFb8JCqCuLhwm7Rf+VAxRRRQKx/eH6KP4paKI/vD9FH8UtFBE0rC0PhjL71HpvUXeVLy1Ltl9Se0leWYCWQsbgIUJOkXC+a81hJbfM1ikksUkkkJnzoAtDPPCiiERxMzksodhJIy33gMF0XtcG92xJqD2ko2xJqD2kpkV2grbZaHvj3k8aPxJyNTG2X1J7SUW3hj6Ue5qymW7Sj2u0Rx202ZkszJK0k8qrnHERQpFjGBUQEl0w8Zwk47g1e2H1J7SUbYk1B7SUnsVtOOyI1x8+RQxklnEgV3USrJISzIwAYXngYXXi41bUCj2h7jvJ4OclQ2C0PmY95PFr+JOQU+/AfZWW2U2pFsESGVoZJFCQyiWSzrHKU46RlIBVBe2Fr7yAACSKDQ7Yk1J7SUbYk1B7SVnNjmUXa3zLI2cLGYkB5f+njilVYFaInCokiZXVgAThY+VebtbQK7Yk1B7SUtZLQ+ObeTxo/Emriqzqkynao44LU85cRhxizbPG58iEBVZSCCSQOEDTpIF9BY7ZfUntJRtiTUHtJWXyVAZGsaraJZGVTPLLFaJ5IhCjMI7OSGwynGwTEwJZYHv03VsqBXbEmoPaSl5LQ+fTeT5j/iTljqypWXj4/4P746A2y+pPaSjbEmpPaSsTlnKKma0Zi0sgWSOKVJJ5rjJn487IVxXwQKt8ZZbgc4dFygnVbFJmawws5ctg0s5LFriQGDHS6kAFWOkrcTpJoHNsSag9pKXyjaHzL7yeDnJVlSuU+Jf2UBth9Se0lG2H1J7SVQ7IrSu3YIY7QYJyMeJpXWPNnGqpmS2GV3fRdcSApN4IW/mwSWRklxPnIwyKkmee1q8gRc80czgYlLXcGgHFwG8AL/AGxJqD2ko2xJqD2kpqigrMn2h8B3k8bJ+JNY9M7ZfUntJS+NBZpDK5RMcuNwzR4Vzj3tjUgr7QRdWIsVukvjBnlJEsYsuGWZ0nvtjraMBJ3+MQZsXvfcl5Fw00G/2xJqD2ko2xJqD2kpqigRssjGeTEmDeo9F4N+mXkrte4/vD9FH8UtFAR/eH6KP4paapB7SFtD3hzfFH5qSP8Ail9Kg1LuivNl7qfw0DVFK7orzZe6n8NG6K82Xup/DQFt4Y+lHuamqrLZlBb4/Jl40Hip+Rv00zuivNl7qfw0DVFK7orzZe6n8NG6K82Xup/DQMPwH2VDk/iY+jX3CvD5RW4+TLwaqfw1DYMoLmY/Jl4tf9KfkH6aCxopXdFebL3U/ho3RXmy91P4aBqlLH583Sj/ABxV3dFebL3U/hpWyZQXHL5MvGj/AEp9XF+mgtKKV3RXmy91P4aN0V5svdT+GgapWXj4/wCD++OjdFebL3U/hpaTKC59Dhl8x/8ASn5Y/wBNBZ0UruivNl7qfw0borzZe6n8NA1SuU+Jf2UborzZe6n8NLZRygphcYZeDVT+Ggs6KV3RXmy91P4aN0V5svdT+GgaopXdFebL3U/ho3RXmy91P4aAyf5h6WX/ACPTVVtitoVSCso3yQ8VNwM7EHzeQimN0V5svdT+GgaopXdFebL3U/ho3RXmy91P4aAj+8P0UfxS0VHZZw08hAYb3H5yunpl5wF9doPace/RR++Ws2mVLQglRpsTRZQs0V80ceNrPO8KMRmiFAYu5U3EgC4i/SNIovncHSM0guPp0y0uuxuyiPNCyWfN487m82mHOAXB7rvOAAAPoAHJQWIrtFFArbeGPpR7mpqlbbwx9KPc1NUBRRRQeX4D7KhyfxMfRr7hUz8B9lQ5P4mPo19woGKKKKApSx+fN0o/xxU3Slj8+bpR/jioG6KKKApWXj4/4P746apWXj4/4P746BqiiigKVynxL+ymqVynxL+ygaoqqyjbLQryCOHEqwl0IXEWkANy3Y1v03DDovvvxClLLb7aSMdniUZ3Cbr783jhGIeVzHmOnV8A4CGgorPPly2AkDJZIBcBs/HpCC8NddwPwL+fDcNNRTZatocFbBemZDmMkFhKTpjx4gDcLuBeXhoNNRWbbLNtJI2jm1uUh8SzkG/SMAZMRuI9IAuJvPBXVy5bMRG5puvOEmVV0KwAv0HhGn/jTw0GjorO2fLdsJIbJ5QXMQ2NTdcGwrd+I4govvA0k8FxMliyra2mVZLEEjbCMQkDFD5RZjo0i7ALtGkNpN4oLSP7w/RR/FLRRH94foo/ilooIzaUW0PjdVvijuxELf5UvLU26MWuj7a/OpytcwDkFBDujFro+2vzo3Ri10fbX51NgHIKMA5BQIWy3x3x77HxoPnryN+dM7oxa6Ptr86nwDkFcwDkFBDujFro+2vzo3Ri10fbX51NgHIKMA5BQLvlCK477Hwc9fnUNgyhHmY99j4tfxLyD86ewDkFGAcgoId0YtdH21+dG6MWuj7a/OpsA5BRgHIKCHdGLXR9tfnStkt8eOXfY+NH4l1cX51YYByCu4ByCgg3Ri10fbX50boxa6Ptr86mwDkFGAcgoId0YtdH21+dLSW+PPoc7H5j/jXlT86fwDkFdwDkFBBujFro+2vzo3Ri10fbX51NgHIKMA5BQQ7oxa6Ptr86Wyjb4zC4EsfBz1+dP4ByCu4ByCgg3Ri1sfbX50boxa6Ptr86mwDkFGAcgoId0YtdH21+dG6MWtj7a/OpsA5BRgHIKCHdGLXR9tfnRujFrY+2vzqbAOQUYByCgh3Ri1sfbX50boxa6Ptr86mwDkFGAcgoFLNOrTuVZW3uPzSGu0y8lFOAUUH/2Q=="/>
          <p:cNvSpPr>
            <a:spLocks noChangeAspect="1" noChangeArrowheads="1"/>
          </p:cNvSpPr>
          <p:nvPr/>
        </p:nvSpPr>
        <p:spPr bwMode="auto">
          <a:xfrm>
            <a:off x="79375" y="-727075"/>
            <a:ext cx="1828800" cy="1504950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custDataLst>
      <p:tags r:id="rId1"/>
    </p:custDataLst>
  </p:cSld>
  <p:clrMapOvr>
    <a:masterClrMapping/>
  </p:clrMapOvr>
  <p:transition xmlns:p14="http://schemas.microsoft.com/office/powerpoint/2010/main">
    <p:cut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 noChangeArrowheads="1"/>
          </p:cNvSpPr>
          <p:nvPr/>
        </p:nvSpPr>
        <p:spPr bwMode="gray">
          <a:xfrm>
            <a:off x="1447800" y="1676400"/>
            <a:ext cx="8077200" cy="3505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9" tIns="36571" rIns="36571" bIns="36571"/>
          <a:lstStyle/>
          <a:p>
            <a:pPr marL="458788" lvl="1" indent="-457200" defTabSz="1019175" eaLnBrk="0" hangingPunct="0">
              <a:buClr>
                <a:schemeClr val="folHlink"/>
              </a:buClr>
              <a:buSzPct val="125000"/>
              <a:buFont typeface="+mj-lt"/>
              <a:buAutoNum type="arabicPeriod"/>
            </a:pPr>
            <a:endParaRPr lang="en-US" sz="1800" dirty="0" smtClean="0">
              <a:solidFill>
                <a:schemeClr val="bg2"/>
              </a:solidFill>
            </a:endParaRPr>
          </a:p>
          <a:p>
            <a:pPr marL="344488" lvl="3" indent="-342900" defTabSz="1019175" eaLnBrk="0" hangingPunct="0">
              <a:buClr>
                <a:schemeClr val="folHlink"/>
              </a:buClr>
              <a:buSzPct val="125000"/>
              <a:buFont typeface="+mj-lt"/>
              <a:buAutoNum type="arabicPeriod"/>
            </a:pPr>
            <a:r>
              <a:rPr lang="en-US" sz="1800" b="1" u="sng" dirty="0" smtClean="0">
                <a:solidFill>
                  <a:schemeClr val="bg2"/>
                </a:solidFill>
                <a:sym typeface="Wingdings" pitchFamily="2" charset="2"/>
              </a:rPr>
              <a:t>Capital Markets Finance</a:t>
            </a:r>
            <a:r>
              <a:rPr lang="en-US" sz="1800" dirty="0" smtClean="0">
                <a:solidFill>
                  <a:schemeClr val="accent1"/>
                </a:solidFill>
                <a:sym typeface="Wingdings" pitchFamily="2" charset="2"/>
              </a:rPr>
              <a:t>:  The constant, high-pressure world of the Regental cycle and the University’s use of debt financing</a:t>
            </a:r>
          </a:p>
          <a:p>
            <a:pPr marL="690563" lvl="4" indent="-231775" defTabSz="1019175" eaLnBrk="0" hangingPunct="0">
              <a:buClr>
                <a:schemeClr val="folHlink"/>
              </a:buClr>
              <a:buSzPct val="125000"/>
              <a:buFont typeface="Arial" pitchFamily="34" charset="0"/>
              <a:buChar char="•"/>
            </a:pPr>
            <a:endParaRPr lang="en-US" sz="1800" u="sng" dirty="0" smtClean="0">
              <a:solidFill>
                <a:schemeClr val="accent1"/>
              </a:solidFill>
              <a:sym typeface="Wingdings" pitchFamily="2" charset="2"/>
            </a:endParaRPr>
          </a:p>
          <a:p>
            <a:pPr marL="690563" lvl="4" indent="-231775" defTabSz="1019175" eaLnBrk="0" hangingPunct="0">
              <a:buClr>
                <a:schemeClr val="folHlink"/>
              </a:buClr>
              <a:buSzPct val="125000"/>
              <a:buFont typeface="Arial" pitchFamily="34" charset="0"/>
              <a:buChar char="•"/>
            </a:pPr>
            <a:endParaRPr lang="en-US" sz="1800" u="sng" dirty="0" smtClean="0">
              <a:solidFill>
                <a:schemeClr val="accent1"/>
              </a:solidFill>
              <a:sym typeface="Wingdings" pitchFamily="2" charset="2"/>
            </a:endParaRPr>
          </a:p>
          <a:p>
            <a:pPr marL="344488" lvl="3" indent="-342900" defTabSz="1019175" eaLnBrk="0" hangingPunct="0">
              <a:buClr>
                <a:schemeClr val="folHlink"/>
              </a:buClr>
              <a:buSzPct val="125000"/>
              <a:buFont typeface="+mj-lt"/>
              <a:buAutoNum type="arabicPeriod"/>
            </a:pPr>
            <a:r>
              <a:rPr lang="en-US" sz="1800" b="1" u="sng" dirty="0" smtClean="0">
                <a:solidFill>
                  <a:schemeClr val="bg2"/>
                </a:solidFill>
                <a:sym typeface="Wingdings" pitchFamily="2" charset="2"/>
              </a:rPr>
              <a:t>Financial Services &amp; Controls (Connexxus)</a:t>
            </a:r>
            <a:r>
              <a:rPr lang="en-US" sz="1800" dirty="0" smtClean="0">
                <a:solidFill>
                  <a:schemeClr val="accent1"/>
                </a:solidFill>
                <a:sym typeface="Wingdings" pitchFamily="2" charset="2"/>
              </a:rPr>
              <a:t>:  The use of mandates at UC and driving volume to the UC-wide travel program</a:t>
            </a:r>
          </a:p>
          <a:p>
            <a:pPr marL="344488" lvl="3" indent="-342900" defTabSz="1019175" eaLnBrk="0" hangingPunct="0">
              <a:buClr>
                <a:schemeClr val="folHlink"/>
              </a:buClr>
              <a:buSzPct val="125000"/>
              <a:buFont typeface="+mj-lt"/>
              <a:buAutoNum type="arabicPeriod"/>
            </a:pPr>
            <a:endParaRPr lang="en-US" sz="1800" b="1" u="sng" dirty="0" smtClean="0">
              <a:solidFill>
                <a:schemeClr val="bg2"/>
              </a:solidFill>
              <a:sym typeface="Wingdings" pitchFamily="2" charset="2"/>
            </a:endParaRPr>
          </a:p>
          <a:p>
            <a:pPr marL="344488" lvl="3" indent="-342900" defTabSz="1019175" eaLnBrk="0" hangingPunct="0">
              <a:buClr>
                <a:schemeClr val="folHlink"/>
              </a:buClr>
              <a:buSzPct val="125000"/>
              <a:buFont typeface="+mj-lt"/>
              <a:buAutoNum type="arabicPeriod"/>
            </a:pPr>
            <a:endParaRPr lang="en-US" sz="1800" b="1" u="sng" dirty="0" smtClean="0">
              <a:solidFill>
                <a:schemeClr val="bg2"/>
              </a:solidFill>
              <a:sym typeface="Wingdings" pitchFamily="2" charset="2"/>
            </a:endParaRPr>
          </a:p>
          <a:p>
            <a:pPr marL="344488" lvl="3" indent="-342900" defTabSz="1019175" eaLnBrk="0" hangingPunct="0">
              <a:buClr>
                <a:schemeClr val="folHlink"/>
              </a:buClr>
              <a:buSzPct val="125000"/>
              <a:buFont typeface="+mj-lt"/>
              <a:buAutoNum type="arabicPeriod"/>
            </a:pPr>
            <a:r>
              <a:rPr lang="en-US" sz="1800" b="1" u="sng" dirty="0" smtClean="0">
                <a:solidFill>
                  <a:schemeClr val="bg2"/>
                </a:solidFill>
                <a:sym typeface="Wingdings" pitchFamily="2" charset="2"/>
              </a:rPr>
              <a:t>Risk Services</a:t>
            </a:r>
            <a:r>
              <a:rPr lang="en-US" sz="1800" dirty="0" smtClean="0">
                <a:solidFill>
                  <a:schemeClr val="accent1"/>
                </a:solidFill>
                <a:sym typeface="Wingdings" pitchFamily="2" charset="2"/>
              </a:rPr>
              <a:t>:  The ever-expanding universe of risk and the specific tools available online through Enterprise Risk Management</a:t>
            </a:r>
          </a:p>
          <a:p>
            <a:pPr marL="344488" lvl="3" indent="-342900" defTabSz="1019175" eaLnBrk="0" hangingPunct="0">
              <a:buClr>
                <a:schemeClr val="folHlink"/>
              </a:buClr>
              <a:buSzPct val="125000"/>
              <a:buFont typeface="+mj-lt"/>
              <a:buAutoNum type="arabicPeriod"/>
            </a:pPr>
            <a:endParaRPr lang="en-US" sz="1800" b="1" u="sng" dirty="0" smtClean="0">
              <a:solidFill>
                <a:schemeClr val="bg2"/>
              </a:solidFill>
              <a:sym typeface="Wingdings" pitchFamily="2" charset="2"/>
            </a:endParaRPr>
          </a:p>
        </p:txBody>
      </p:sp>
      <p:sp>
        <p:nvSpPr>
          <p:cNvPr id="24577" name="Rectangle 2"/>
          <p:cNvSpPr>
            <a:spLocks noGrp="1" noChangeArrowheads="1"/>
          </p:cNvSpPr>
          <p:nvPr>
            <p:ph type="title"/>
          </p:nvPr>
        </p:nvSpPr>
        <p:spPr>
          <a:xfrm>
            <a:off x="762000" y="838200"/>
            <a:ext cx="8686800" cy="288925"/>
          </a:xfrm>
        </p:spPr>
        <p:txBody>
          <a:bodyPr/>
          <a:lstStyle/>
          <a:p>
            <a:pPr lvl="1"/>
            <a:r>
              <a:rPr lang="en-US" sz="2300" dirty="0" smtClean="0"/>
              <a:t>Follow-Ups:  we chose 3 case studies for LDP</a:t>
            </a:r>
          </a:p>
        </p:txBody>
      </p:sp>
      <p:sp>
        <p:nvSpPr>
          <p:cNvPr id="56" name="TextBox 55"/>
          <p:cNvSpPr txBox="1"/>
          <p:nvPr/>
        </p:nvSpPr>
        <p:spPr>
          <a:xfrm rot="233865">
            <a:off x="5286126" y="655755"/>
            <a:ext cx="808076" cy="307777"/>
          </a:xfrm>
          <a:prstGeom prst="rect">
            <a:avLst/>
          </a:prstGeom>
          <a:noFill/>
          <a:ln w="5080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Values</a:t>
            </a:r>
          </a:p>
        </p:txBody>
      </p:sp>
      <p:sp>
        <p:nvSpPr>
          <p:cNvPr id="93186" name="AutoShape 2" descr="data:image/jpg;base64,/9j/4AAQSkZJRgABAQAAAQABAAD/2wCEAAkGBhQSDhQQEA8QEBQUEBkQFA4QFhEQFBAQFBwWFRUQFRQYHycqFxkjGRUTHy8iIycsLCwsFR4xQTIqNSYrLSkBCQoKBQUFDQUFDSkYEhgpKSkpKSkpKSkpKSkpKSkpKSkpKSkpKSkpKSkpKSkpKSkpKSkpKSkpKSkpKSkpKSkpKf/AABEIAMwA9wMBIgACEQEDEQH/xAAbAAACAwEBAQAAAAAAAAAAAAAABAMFBgECB//EAEkQAAIBAQMEDQkIAQMDBQEAAAECAwAEERIFEyFTBhQVIzEzUVJzkZKT0iIyQVRxsbLR0wc0QmFiY3Kis0OBoSR0dRY1NsHCCP/EABQBAQAAAAAAAAAAAAAAAAAAAAD/xAAUEQEAAAAAAAAAAAAAAAAAAAAA/9oADAMBAAIRAxEAPwD7PLaXzhRERrkViWcp5xYXABTzf+a5nJtXF3j/AE67H94foo/ilpqgUzk2ri7x/p0ZybVxd4/06booFM5Nq4u8f6dGcm1cXeP9Om6KBTOTauLvH+nRnJtXF3j/AE6booFM5Nq4u8f6dGcm1cXeP9Om6KBTOTauLvH+nRnJtXF3j/TrL5O+0FpctS5KNjwtCpkefPBlzVyFXC4LyTnI9HovOnRV3YNl1kmWV4bVFKsK4pShLZpdOluTzT1Ggdzk2ri7x/p0ZybVxd4/06rZNnNhWBLQ1tgELsUSYtcjuvnKG4CR/wDR5KnynssslnEZtFqihEq4o84cOcGjzb+HhGj86BvOTauLvH+nRnJtXF3j/TqOfL0CWiOzPMizSrijhN+J106VHpHknqqHZRsijsNjltc2IpGAcK6WdmIVUH5liBQNZybVxd4/06M5Nq4u8f6dYXYr9sAtNshslpsEtia0xCazu7iRZkYMVbzVuDBWuOm8i6qu1f8A9ARLLI0eT55bLHMIXtiuo8psWErGRpvCORew0D0UH07OTauLvH+nRnJtXF3j/TrH7LPtjsNiiVlfbUsiJIlniNzZuRQ6u7Eb2CjAgHSbxo9Ij2WfbNZLEqLcbROwUtZYmF8IYBt8e64EXjRw/kKDaZybVxd4/wBOjOTauLvH+nTQNdoFM5Nq4u8f6dGcm1cXeP8ATpuigUzk2ri7x/p0ZybVxd4/06booFM5Nq4u8f6dGcm1cXeP9Om6KBTOTauLvH+nRnJtXF3j/TpuigWs1oYuyOiqQqterFwQxYelRd5v/NFcj+8P0UfxS0UBH94foo/ilpqlY/vD9FH8UtNUBRRRQFFFFAUUUUBRRRQfJtjv/wA5yh/2Q+Gx1P8AZMdGWf8AyU3/AOqNhViefZPlDKcattUxbWSZlZBLKogVgmIDEAYXvI/Llq+H2evFPa3sVuazJbWMk0LRJNhka/FJC5YYCcR4Qw6hQfNNkf8A8Lyb/wB2nvtNfTPtY2ObcyTMqm6WAbbhN9xDxXkge1cS+0jkrxsk+zGO05Ns+TYp2s8NnZXBwCV3KBlUkkgaS7k6NJPopj/0VO00882UM7JLYmsKnMIiQxu2JmCB/KY/meTkuoEfs0tj5QUZXnW5mgWxwryLHcbTLcDozk4YfxiWtXsgyLBarM0FrQPCbnZWZox5BxAllIIAIv4fRSOwfYtudYlsYmz6ozFHKCMgOS5U3E3+UW06OGvOz/ItoteTZrLZJEiklATHIWVc2SM4pKgnSt44PTQfKNg9lGU9kBtkCFLFk6IQ2cHEd7jVo7OgLabz5chvvI4Dw18/yd/7Ba//ACFl+C019m+znYRlbJ7xwSTZP2mHd5o4gxlkLKbjiMYvN+AcPAt1Ze0fYdlBBNYoJrIbJLaUnz0hkEqiISKgKheG6Q3gX3kDSNNAl9p2S4l2O5JtCwxrK8MKvMqqHdRZxcGYC9rsK3X8F1TfbrkyJLPk2ZIY0kkRs5KiqrS3JBdjYDyrrzw8tbn7QvsymteS7HYbJJENq4VxTlkxIkebB8lW0nQaj+077NrTlGz2KKzvZ1azKwcys6gkrGow4UN+lDw3eig+lrwV2uCu0BRRRQFFFFAUUUUBRRRQKx/eH6KP4paKI/vD9FH8UtFBE8xW0PdG771HpUxi7ypecwqXbjery9cHjoRv+ofoo/ilpLZRY89Y5IlMt7YQDCY8YuZTiukIV1F17KfOUMum+6gd22/q8vXB46NuN6vL1weOvncOxm1XPnLLGpkzUxWJohEjR2aeJogpbyTnGW4C8DH51wJGm2FZJls2ejm0qrJFBKSpaSzIt8eO4+egbNknhzd/poL7bjery9cHjo243q8vXB46ZxjlFUmzHJW2rC9mUm+Ro1xIQGjGcQmUEkaVALcuigstuN6vL1weOjbjery9cHjr53FsZtmcd7TDtgSSvJLEjxYZJpbJCiugZh5CTCdBfcRjVrvSHtj2xy1w2yB5TnUJU2h2dTdaYbKIBaUBN5Ehd1bRffGhu0mg223G9Xl64PHRtxvV5euDx0xjHKK7jHKKBbbbery9cHjo22/q8vXB46zuXtjQmyhFKIUZTZ5xLKSuic7W2uTeb9Gae64XDTzjfl//AEraTHZcVlJzUMEMqE2aQsYbLaonNzOAymWWIAk+jFoABoPpW3G9Xl64PHRtxvV5euDx1NEwwjgGgaL77vyvr3jHKKBbbjery9cHjo22/q8vXB46yez3Y5NaZFay6C9knsssiuEZL83PAwvIv32HBo9ExqqtOxm0GYytZsRlsV7qu12CWyV7TK6B2cFcBmj8pb8QQLwUH0Hbjery9cHjo243q8vXB46zmwTJMsAkzq5lGis6LAWVrpo4gs81ykhcTYRoOnNk+nTrMY5RQLbcb1eXrg8dG239Xl64PHXu1QJIhjkCurC5kPAw5DyivmE2wu07TjWODNynJ1viluaC9rRNm1gQnHdeVQjEOD0kUH0zbjery9cHjo243q8vXB46yWxzIU0dsxPFgRbRaZw+KMqUnWEIoAN+IYXBF1wwfmL9tjHKKBbbjery9cHjo22/q8vXB46YxjlFfPdkWxSeaXKEixK2cezmAERFnwizrI6uXGFQElBQ3Yr7+Sg3W3G9Xl64PHRtxvV5euDx1kth+RZ4bYzzxYFFmkhxhozGzm1TyjNqGJSMxyIVU+aLlvJWtrjHKKBfbjery9cHjo243q8vXB46ZxjlFZjZ3k2SeFBAhkdHMixnNtDI2BkzVoVmXyGDsMS6UNzeigvttt6vL1weOjbjery9cHjr59lLY5aZXtDtZseeezWlAXibMyJaFE0VzPdi2qkIJGgiMjhYg/RbNCkaLGgCqihFUcCqouAH+1AvZZS08l6Mm9x6GwG/TLzWNFSRH/qH6KP4paKCM2ZGtD40Rroo/OUNd5UvLU250Wpj7C/KvMf3h+ij+KWmqBfc6LUx9hflRudFqY+wvypiigrrZk+O+Peo+NH4F5G/KmdzotTH2F+Vebbwx9KPc1NUC+50Wpj7C/Kjc6LUx9hflTFFAq+TorjvMXBzF+VQ2DJ8eZj3qPi1/AvIPyp5+A+yocn8TH0a+4UBudFqY+wvyo3Oi1MfYX5UxRQL7nRamPsL8qVsmT48cu9R8aPwLq4vyqypSx+fN0o/xxUHvc6LUx9hflRudFqY+wvypiigX3Oi1MfYX5UtJk+PPoM1H5j/AIF5Y/yqxpWXj4/4P746D1udFqY+wvyo3Oi1MfYX5UxRQL7nRamPsL8qWyjk+MQvvUfBzF+VWNK5T4l/ZQLSmBbQlnMK45EaRd6GHCmENe911/lDRw03udFqY+wvypa15NdrXDOsiKsSupjKMzPnMN5DhgFuwj8J9NWNAvudFqY+wvyrm50Wpj7C/KmaKCpgssawu+11kIkluREjLNdI9yi+4dZAr3kzMzxCRYFXynQo6IGSSNmjdDdeLwysLwSDdoJFdzLvZpEhlEMjPKFlK5zAxkfysN4vu9tS5GsBhgWIlDhvF8augN5JvON3JY33lixJJJ9NBLudFqY+wvyo3Oi1MfYX5UxRQJWaBVncIqrvUfmgLfpl5KK9x/eH6KP4paKAj+8P0UfxS01Ve9mDWhyS4uiTzXkT8UvoUi+oMmzQzhs29ovRgrJI1rhdSQGF6SEG4ggg3XUFvRSu5y86XvZ/FRucvOl72fxUBbeGPpR7mpqqy2ZPW+PypeNA42fkb9Vcvhz+1s7Jnc0Zs3nbReIwQuI+Vo0kDTw6eQ0FpRSu5y86XvZ/FRucvOl72fxUDD8B9lQ5P4mPo19wrw+TluPlS8Gtn8VVrSwwwQmRrR5YVFWM2yZmbAXICR4j5qseD0UF7RSi5PUi/FN/vLOP+MVd3OXnS97P4qBqlLH583Sj/HFXdzl50vez+KkM1HGJ5JJJFRJLyxln0DNxcjaT/wA0FzRSFmsySIHU2gAi8B3tUTf7o5BH+4qXc5edL3s/ioGqVl4+P+D++Ojc5edL3s/ipaTJ655Bil8x/wDVn5Y/1UFnRVPHaIWtG18VqElzMA+3UVlQqGZZGuVgC68BPnCntzl50vez+KgapXKfEv7KNzl50vez+Klso5PUQucUvBrZ/FQWdFU9qtMEcqxPLMHbDoD2pgucYpHjcG5MTgquIi8i4U9ucvOl72fxUDVcpbc5edL3s/io3OXnS97P4qAyd5h6WX/I9NVTJHFFA8skkqqskhLZ2c6BI40ANeSdAuGkk1PYFimjzkbzFbyumS0oyspKsrKzAqQQRcRQWVFK7nLzpe9n8VG5y86XvZ/FQEf3h+ij+KWio7LAFnkALHe4/OZ39MvOJurtB6Xj5LuHNJdfy3y0lkDJskbTySiNDNKJc1E7zKpwqrNnHVSSSOC64AC7009H94foo/ilpqgKKKKBW28MfSj3NVbZ9jWC37aWWQqyTY43IN8kpgII8m/CFhu0nRhQDQKsrbwx9KPc1NUBRRRQeX4D7KoMsZJe0WKJI0jZwgKSSSSwmBzGUEyNGpJYYjovF950ir9+A+yocn8TH0a+4UEsSkKATiIABY6MRHpr3RRQFUeVcmG0Q2iJSt+fjkAYsqsYhZ5QjFdIDYMJI0gG/TV5Slj8+bpR/jioIcgWB4bOI5CCcbsFVmdY0d2dIVZgCyopCgkDzeADQLGiigKVl4+P+D++OmqVl4+P+D++OghsuTmFpltEhUllWKIC/e4VGI33/iaRmJu9Cx8lWFFFAUrlPiX9lNUrlPiX9lBTZY2OSS22O0KUAXM3MWdWjzUrSSDNgXTB1KqMZGAriGmtHRRQFFFFBVS2ITWWWIqHxPLcpZovLEjlTnFBKEMAcQBIuvr1seyU0EJV2xO8rzOcTP5TknDiYAtcMIvuF919w4Azk7zD0sv+R6aoCiiigVj+8P0UfxS0UR/eH6KP4paKCJoS1oe6R03qPQojN/lS85TUu1G18vVD4KE49+ij+KWsFbYGay3CK1OBugIQ8dqZ1tkkoexS+WMQOAvhkOhb+EGg3u1G18vVD4KNqNr5eqHwUyvBprtBWWyytfHv8vGj0Q8jfopnaja+Xqh8FFt4Y+lHuaqdyBb7ViFpwtYogWUWrDiUzYhEyi4NhePRGcRJ5RQXG1G18vVD4KNqNr5eqHwUpsVJ3PswYOrCzRqyyK6OHVQrBlYAg3g8NWtAo9ka47/LwckPgqGwWVszHv8ALxa+iHkH6KffgPsrPZe+4QECYkTWV7oRM5uWSJnLLECSuAOSCLtHsoLnaja+Xqh8FG1G18vVD4KpMlopynM6QyQ4Y2jYmKZBanLIzTNIVwsFuCppJ8qT8N1+loFdqNr5eqHwUrZLK2Obf5eNHoh1cX6KtKrZLsFpxY7sRvzecx3ZqPzc35V/8dNAxtRtfL1Q+Cjaja+Xqh8FZGzw4hkwiGXPpHCJC0FoSQRqjKwM7ACNVbGWQ6X8kaL1v3FArtRtfL1Q+ClpLK2fTf5fMf0Q8sf6Ks6Vl4+P+D++OgNqNr5eqHwUbUbXy9UPgrP2mKZrZa0s+cUvHZ/LlNpjjuUy55YZSrBWwsnmaAWvuvvqz2IxOuTrMsqlHWzorIS5KkKBccQBvuuvvHDfw8NA7tRtfL1Q+Clso2Vsy+/y8HJD4Ks6VynxL+ygNqNr5eqHwUbUbXy9UPgqpyyP+vg4+42edGZFndFxBMN4UFQ2hrr9Po9NR7BYM3Z3jCAIkgRJhDJZWtCiOO+V45NOLFiUn04KC62o2vl6ofBRtRtfL1Q+CmqKCssFlbAd/l42T0Q6x/0UztRtfL1Q+CoobsxJixXY5r8GPFdjkvw4PKvu4MOnk01jbAJg1gYxO+CyWSNY54J2Ky42jtjlzdmZEQI2JxewW4X3m8NvtRtfL1Q+Cjaja+Xqh8FNUUCNliKzyXuz73HpbALtMvNArte4/vD9FH8UtFAR/eH6KP4paapBse2HwYOKjvxYudLyVLv37X96Bqild+/a/vRv37X96AtvDH0o9zU1VbbM7fHxXGjn8jUxv37X96Bqild+/a/vRv37X96Bh+A+yocn8TH0a+4V4fO3HiuD9dQ2DO5mPiuLXn8goLGild+/a/vRv37X96BqlLH583Sj/HFXd+/a/vS1kzuObiuNHP1cVBZ0Urvv7X96N+/a/vQNUrLx8f8AB/fHRv37X96XlzufTivMfn8sdBZUUrv37X96N+/a/vQNUrlPiX9lG/ftf3pfKOdzL8VwfroLKild+/a/vRv37X96Bqild+/a/vRv37X96Ayf5h6WX/I9NVWZPzuA8VxsnP1j0zvv7X96Bqild+/a/vRv37X96Aj+8P0UfxS0VHZcWfkx4eKjuw38svLXaD2nHv0UfxS1lpbbJJY2C2yQzm3TWWF4jEuJzI6pjUKb1jjUuRw4YzWpj+8P0UfxS1LFZEXzY0XTi8lVGm66/R6btFB7QXAC8m4XXm68/mbq9UUUCtt4Y+lHuas3l/K8iS2tEtAF0FkMaEoubaaaSJ/KuJQMAgLkHBeGuN1x0lt4Y+lHuapGsaEsTGhLLhYlVJZToKk+kXAaPyoK3Ypa2ksitIzMwkljJYqxGblkQJjGh8IULi/Fhv8ATVxXmOMKoVQFAFwVQAABwAAcAr1QeX4D7KosrWxorHZ3WbNb/ZUYnB5cbyRI8flcF6s3Bp0VevwH2UrZbOrwRh0Vxm1NzAML8N19x9poKLI1un3RkhlZ2GCaRhigeNFEqLZcAQ4o74i4IcC9ozdfcTWpqOOBVLFVVSxxMVABZuC83cJqSgKqLbaESK0vLM0CBwWlQgMowQ6F0HSeAAC8k6NN1W9JWeIM0ysoYGUXqwBB3uLhBoMfZMrziWIPaWLA2YLBihfOx2iedJBIUG+OkKLeVNwaFjwE372oEsUYKlY4wUvCkKowBvOC6NF/puqegKVl4+P+D++OmqVl4+P+D++OgzNuykwktpgtrYYrNIWLtC4jtS3FViUjQEW9WvvF7qNLK12oyfNjhje8NijVsQuN5IGnRQbBHexzUd7C5jhW9hw3E3adIHVU0cYUBVAUDQFAAAHIAKD1SuU+Jf2U1SuU+Jf2UFRlu2XW2COO0sj3h5IS0YjFm8oM7qwvLMblW433reNCvXvYjazJHK4naeIzbw8jI7mLAl7EqB5LOJGW/ThYcAIAuJLIjMGaNGYcDMqkj06CeCuwWVEvCIiXm8hFC3nlN1BLRRRQVjzKllleSUwopmLTAgGNQ8l7gkG672Vm0yhIIrLIbW+I2tUzbSQs+1pZykayRBd8coVQ6QU0t5RU4tZYkBjYMAQZZQQdIIzj6CK9pk+JSpWKMFb8JCqCuLhwm7Rf+VAxRRRQKx/eH6KP4paKI/vD9FH8UtFBE0rC0PhjL71HpvUXeVLy1Ltl9Se0leWYCWQsbgIUJOkXC+a81hJbfM1ikksUkkkJnzoAtDPPCiiERxMzksodhJIy33gMF0XtcG92xJqD2ko2xJqD2kpkV2grbZaHvj3k8aPxJyNTG2X1J7SUW3hj6Ue5qymW7Sj2u0Rx202ZkszJK0k8qrnHERQpFjGBUQEl0w8Zwk47g1e2H1J7SUbYk1B7SUnsVtOOyI1x8+RQxklnEgV3USrJISzIwAYXngYXXi41bUCj2h7jvJ4OclQ2C0PmY95PFr+JOQU+/AfZWW2U2pFsESGVoZJFCQyiWSzrHKU46RlIBVBe2Fr7yAACSKDQ7Yk1J7SUbYk1B7SVnNjmUXa3zLI2cLGYkB5f+njilVYFaInCokiZXVgAThY+VebtbQK7Yk1B7SUtZLQ+ObeTxo/Emriqzqkynao44LU85cRhxizbPG58iEBVZSCCSQOEDTpIF9BY7ZfUntJRtiTUHtJWXyVAZGsaraJZGVTPLLFaJ5IhCjMI7OSGwynGwTEwJZYHv03VsqBXbEmoPaSl5LQ+fTeT5j/iTljqypWXj4/4P746A2y+pPaSjbEmpPaSsTlnKKma0Zi0sgWSOKVJJ5rjJn487IVxXwQKt8ZZbgc4dFygnVbFJmawws5ctg0s5LFriQGDHS6kAFWOkrcTpJoHNsSag9pKXyjaHzL7yeDnJVlSuU+Jf2UBth9Se0lG2H1J7SVQ7IrSu3YIY7QYJyMeJpXWPNnGqpmS2GV3fRdcSApN4IW/mwSWRklxPnIwyKkmee1q8gRc80czgYlLXcGgHFwG8AL/AGxJqD2ko2xJqD2kpqigrMn2h8B3k8bJ+JNY9M7ZfUntJS+NBZpDK5RMcuNwzR4Vzj3tjUgr7QRdWIsVukvjBnlJEsYsuGWZ0nvtjraMBJ3+MQZsXvfcl5Fw00G/2xJqD2ko2xJqD2kpqigRssjGeTEmDeo9F4N+mXkrte4/vD9FH8UtFAR/eH6KP4paapB7SFtD3hzfFH5qSP8Ail9Kg1LuivNl7qfw0DVFK7orzZe6n8NG6K82Xup/DQFt4Y+lHuamqrLZlBb4/Jl40Hip+Rv00zuivNl7qfw0DVFK7orzZe6n8NG6K82Xup/DQMPwH2VDk/iY+jX3CvD5RW4+TLwaqfw1DYMoLmY/Jl4tf9KfkH6aCxopXdFebL3U/ho3RXmy91P4aBqlLH583Sj/ABxV3dFebL3U/hpWyZQXHL5MvGj/AEp9XF+mgtKKV3RXmy91P4aN0V5svdT+GgapWXj4/wCD++OjdFebL3U/hpaTKC59Dhl8x/8ASn5Y/wBNBZ0UruivNl7qfw0borzZe6n8NA1SuU+Jf2UborzZe6n8NLZRygphcYZeDVT+Ggs6KV3RXmy91P4aN0V5svdT+GgaopXdFebL3U/ho3RXmy91P4aAyf5h6WX/ACPTVVtitoVSCso3yQ8VNwM7EHzeQimN0V5svdT+GgaopXdFebL3U/ho3RXmy91P4aAj+8P0UfxS0VHZZw08hAYb3H5yunpl5wF9doPace/RR++Ws2mVLQglRpsTRZQs0V80ceNrPO8KMRmiFAYu5U3EgC4i/SNIovncHSM0guPp0y0uuxuyiPNCyWfN487m82mHOAXB7rvOAAAPoAHJQWIrtFFArbeGPpR7mpqlbbwx9KPc1NUBRRRQeX4D7KhyfxMfRr7hUz8B9lQ5P4mPo19woGKKKKApSx+fN0o/xxU3Slj8+bpR/jioG6KKKApWXj4/4P746apWXj4/4P746BqiiigKVynxL+ymqVynxL+ygaoqqyjbLQryCOHEqwl0IXEWkANy3Y1v03DDovvvxClLLb7aSMdniUZ3Cbr783jhGIeVzHmOnV8A4CGgorPPly2AkDJZIBcBs/HpCC8NddwPwL+fDcNNRTZatocFbBemZDmMkFhKTpjx4gDcLuBeXhoNNRWbbLNtJI2jm1uUh8SzkG/SMAZMRuI9IAuJvPBXVy5bMRG5puvOEmVV0KwAv0HhGn/jTw0GjorO2fLdsJIbJ5QXMQ2NTdcGwrd+I4govvA0k8FxMliyra2mVZLEEjbCMQkDFD5RZjo0i7ALtGkNpN4oLSP7w/RR/FLRRH94foo/ilooIzaUW0PjdVvijuxELf5UvLU26MWuj7a/OpytcwDkFBDujFro+2vzo3Ri10fbX51NgHIKMA5BQIWy3x3x77HxoPnryN+dM7oxa6Ptr86nwDkFcwDkFBDujFro+2vzo3Ri10fbX51NgHIKMA5BQLvlCK477Hwc9fnUNgyhHmY99j4tfxLyD86ewDkFGAcgoId0YtdH21+dG6MWuj7a/OpsA5BRgHIKCHdGLXR9tfnStkt8eOXfY+NH4l1cX51YYByCu4ByCgg3Ri10fbX50boxa6Ptr86mwDkFGAcgoId0YtdH21+dLSW+PPoc7H5j/jXlT86fwDkFdwDkFBBujFro+2vzo3Ri10fbX51NgHIKMA5BQQ7oxa6Ptr86Wyjb4zC4EsfBz1+dP4ByCu4ByCgg3Ri1sfbX50boxa6Ptr86mwDkFGAcgoId0YtdH21+dG6MWtj7a/OpsA5BRgHIKCHdGLXR9tfnRujFrY+2vzqbAOQUYByCgh3Ri1sfbX50boxa6Ptr86mwDkFGAcgoFLNOrTuVZW3uPzSGu0y8lFOAUUH/2Q=="/>
          <p:cNvSpPr>
            <a:spLocks noChangeAspect="1" noChangeArrowheads="1"/>
          </p:cNvSpPr>
          <p:nvPr/>
        </p:nvSpPr>
        <p:spPr bwMode="auto">
          <a:xfrm>
            <a:off x="4572000" y="-971550"/>
            <a:ext cx="2352675" cy="1943100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3188" name="AutoShape 4" descr="data:image/jpg;base64,/9j/4AAQSkZJRgABAQAAAQABAAD/2wCEAAkGBhQSDhQQEA8QEBQUEBkQFA4QFhEQFBAQFBwWFRUQFRQYHycqFxkjGRUTHy8iIycsLCwsFR4xQTIqNSYrLSkBCQoKBQUFDQUFDSkYEhgpKSkpKSkpKSkpKSkpKSkpKSkpKSkpKSkpKSkpKSkpKSkpKSkpKSkpKSkpKSkpKSkpKf/AABEIAMwA9wMBIgACEQEDEQH/xAAbAAACAwEBAQAAAAAAAAAAAAAABAMFBgECB//EAEkQAAIBAQMEDQkIAQMDBQEAAAECAwAEERIFEyFTBhQVIzEzUVJzkZKT0iIyQVRxsbLR0wc0QmFiY3Kis0OBoSR0dRY1NsHCCP/EABQBAQAAAAAAAAAAAAAAAAAAAAD/xAAUEQEAAAAAAAAAAAAAAAAAAAAA/9oADAMBAAIRAxEAPwD7PLaXzhRERrkViWcp5xYXABTzf+a5nJtXF3j/AE67H94foo/ilpqgUzk2ri7x/p0ZybVxd4/06booFM5Nq4u8f6dGcm1cXeP9Om6KBTOTauLvH+nRnJtXF3j/AE6booFM5Nq4u8f6dGcm1cXeP9Om6KBTOTauLvH+nRnJtXF3j/TrL5O+0FpctS5KNjwtCpkefPBlzVyFXC4LyTnI9HovOnRV3YNl1kmWV4bVFKsK4pShLZpdOluTzT1Ggdzk2ri7x/p0ZybVxd4/06rZNnNhWBLQ1tgELsUSYtcjuvnKG4CR/wDR5KnynssslnEZtFqihEq4o84cOcGjzb+HhGj86BvOTauLvH+nRnJtXF3j/TqOfL0CWiOzPMizSrijhN+J106VHpHknqqHZRsijsNjltc2IpGAcK6WdmIVUH5liBQNZybVxd4/06M5Nq4u8f6dYXYr9sAtNshslpsEtia0xCazu7iRZkYMVbzVuDBWuOm8i6qu1f8A9ARLLI0eT55bLHMIXtiuo8psWErGRpvCORew0D0UH07OTauLvH+nRnJtXF3j/TrH7LPtjsNiiVlfbUsiJIlniNzZuRQ6u7Eb2CjAgHSbxo9Ij2WfbNZLEqLcbROwUtZYmF8IYBt8e64EXjRw/kKDaZybVxd4/wBOjOTauLvH+nTQNdoFM5Nq4u8f6dGcm1cXeP8ATpuigUzk2ri7x/p0ZybVxd4/06booFM5Nq4u8f6dGcm1cXeP9Om6KBTOTauLvH+nRnJtXF3j/TpuigWs1oYuyOiqQqterFwQxYelRd5v/NFcj+8P0UfxS0UBH94foo/ilpqlY/vD9FH8UtNUBRRRQFFFFAUUUUBRRRQfJtjv/wA5yh/2Q+Gx1P8AZMdGWf8AyU3/AOqNhViefZPlDKcattUxbWSZlZBLKogVgmIDEAYXvI/Llq+H2evFPa3sVuazJbWMk0LRJNhka/FJC5YYCcR4Qw6hQfNNkf8A8Lyb/wB2nvtNfTPtY2ObcyTMqm6WAbbhN9xDxXkge1cS+0jkrxsk+zGO05Ns+TYp2s8NnZXBwCV3KBlUkkgaS7k6NJPopj/0VO00882UM7JLYmsKnMIiQxu2JmCB/KY/meTkuoEfs0tj5QUZXnW5mgWxwryLHcbTLcDozk4YfxiWtXsgyLBarM0FrQPCbnZWZox5BxAllIIAIv4fRSOwfYtudYlsYmz6ozFHKCMgOS5U3E3+UW06OGvOz/ItoteTZrLZJEiklATHIWVc2SM4pKgnSt44PTQfKNg9lGU9kBtkCFLFk6IQ2cHEd7jVo7OgLabz5chvvI4Dw18/yd/7Ba//ACFl+C019m+znYRlbJ7xwSTZP2mHd5o4gxlkLKbjiMYvN+AcPAt1Ze0fYdlBBNYoJrIbJLaUnz0hkEqiISKgKheG6Q3gX3kDSNNAl9p2S4l2O5JtCwxrK8MKvMqqHdRZxcGYC9rsK3X8F1TfbrkyJLPk2ZIY0kkRs5KiqrS3JBdjYDyrrzw8tbn7QvsymteS7HYbJJENq4VxTlkxIkebB8lW0nQaj+077NrTlGz2KKzvZ1azKwcys6gkrGow4UN+lDw3eig+lrwV2uCu0BRRRQFFFFAUUUUBRRRQKx/eH6KP4paKI/vD9FH8UtFBE8xW0PdG771HpUxi7ypecwqXbjery9cHjoRv+ofoo/ilpLZRY89Y5IlMt7YQDCY8YuZTiukIV1F17KfOUMum+6gd22/q8vXB46NuN6vL1weOvncOxm1XPnLLGpkzUxWJohEjR2aeJogpbyTnGW4C8DH51wJGm2FZJls2ejm0qrJFBKSpaSzIt8eO4+egbNknhzd/poL7bjery9cHjo243q8vXB46ZxjlFUmzHJW2rC9mUm+Ro1xIQGjGcQmUEkaVALcuigstuN6vL1weOjbjery9cHjr53FsZtmcd7TDtgSSvJLEjxYZJpbJCiugZh5CTCdBfcRjVrvSHtj2xy1w2yB5TnUJU2h2dTdaYbKIBaUBN5Ehd1bRffGhu0mg223G9Xl64PHRtxvV5euDx0xjHKK7jHKKBbbbery9cHjo22/q8vXB46zuXtjQmyhFKIUZTZ5xLKSuic7W2uTeb9Gae64XDTzjfl//AEraTHZcVlJzUMEMqE2aQsYbLaonNzOAymWWIAk+jFoABoPpW3G9Xl64PHRtxvV5euDx1NEwwjgGgaL77vyvr3jHKKBbbjery9cHjo22/q8vXB46yez3Y5NaZFay6C9knsssiuEZL83PAwvIv32HBo9ExqqtOxm0GYytZsRlsV7qu12CWyV7TK6B2cFcBmj8pb8QQLwUH0Hbjery9cHjo243q8vXB46zmwTJMsAkzq5lGis6LAWVrpo4gs81ykhcTYRoOnNk+nTrMY5RQLbcb1eXrg8dG239Xl64PHXu1QJIhjkCurC5kPAw5DyivmE2wu07TjWODNynJ1viluaC9rRNm1gQnHdeVQjEOD0kUH0zbjery9cHjo243q8vXB46yWxzIU0dsxPFgRbRaZw+KMqUnWEIoAN+IYXBF1wwfmL9tjHKKBbbjery9cHjo22/q8vXB46YxjlFfPdkWxSeaXKEixK2cezmAERFnwizrI6uXGFQElBQ3Yr7+Sg3W3G9Xl64PHRtxvV5euDx1kth+RZ4bYzzxYFFmkhxhozGzm1TyjNqGJSMxyIVU+aLlvJWtrjHKKBfbjery9cHjo243q8vXB46ZxjlFZjZ3k2SeFBAhkdHMixnNtDI2BkzVoVmXyGDsMS6UNzeigvttt6vL1weOjbjery9cHjr59lLY5aZXtDtZseeezWlAXibMyJaFE0VzPdi2qkIJGgiMjhYg/RbNCkaLGgCqihFUcCqouAH+1AvZZS08l6Mm9x6GwG/TLzWNFSRH/qH6KP4paKCM2ZGtD40Rroo/OUNd5UvLU250Wpj7C/KvMf3h+ij+KWmqBfc6LUx9hflRudFqY+wvypiigrrZk+O+Peo+NH4F5G/KmdzotTH2F+Vebbwx9KPc1NUC+50Wpj7C/Kjc6LUx9hflTFFAq+TorjvMXBzF+VQ2DJ8eZj3qPi1/AvIPyp5+A+yocn8TH0a+4UBudFqY+wvyo3Oi1MfYX5UxRQL7nRamPsL8qVsmT48cu9R8aPwLq4vyqypSx+fN0o/xxUHvc6LUx9hflRudFqY+wvypiigX3Oi1MfYX5UtJk+PPoM1H5j/AIF5Y/yqxpWXj4/4P746D1udFqY+wvyo3Oi1MfYX5UxRQL7nRamPsL8qWyjk+MQvvUfBzF+VWNK5T4l/ZQLSmBbQlnMK45EaRd6GHCmENe911/lDRw03udFqY+wvypa15NdrXDOsiKsSupjKMzPnMN5DhgFuwj8J9NWNAvudFqY+wvyrm50Wpj7C/KmaKCpgssawu+11kIkluREjLNdI9yi+4dZAr3kzMzxCRYFXynQo6IGSSNmjdDdeLwysLwSDdoJFdzLvZpEhlEMjPKFlK5zAxkfysN4vu9tS5GsBhgWIlDhvF8augN5JvON3JY33lixJJJ9NBLudFqY+wvyo3Oi1MfYX5UxRQJWaBVncIqrvUfmgLfpl5KK9x/eH6KP4paKAj+8P0UfxS01Ve9mDWhyS4uiTzXkT8UvoUi+oMmzQzhs29ovRgrJI1rhdSQGF6SEG4ggg3XUFvRSu5y86XvZ/FRucvOl72fxUBbeGPpR7mpqqy2ZPW+PypeNA42fkb9Vcvhz+1s7Jnc0Zs3nbReIwQuI+Vo0kDTw6eQ0FpRSu5y86XvZ/FRucvOl72fxUDD8B9lQ5P4mPo19wrw+TluPlS8Gtn8VVrSwwwQmRrR5YVFWM2yZmbAXICR4j5qseD0UF7RSi5PUi/FN/vLOP+MVd3OXnS97P4qBqlLH583Sj/HFXdzl50vez+KkM1HGJ5JJJFRJLyxln0DNxcjaT/wA0FzRSFmsySIHU2gAi8B3tUTf7o5BH+4qXc5edL3s/ioGqVl4+P+D++Ojc5edL3s/ipaTJ655Bil8x/wDVn5Y/1UFnRVPHaIWtG18VqElzMA+3UVlQqGZZGuVgC68BPnCntzl50vez+KgapXKfEv7KNzl50vez+Klso5PUQucUvBrZ/FQWdFU9qtMEcqxPLMHbDoD2pgucYpHjcG5MTgquIi8i4U9ucvOl72fxUDVcpbc5edL3s/io3OXnS97P4qAyd5h6WX/I9NVTJHFFA8skkqqskhLZ2c6BI40ANeSdAuGkk1PYFimjzkbzFbyumS0oyspKsrKzAqQQRcRQWVFK7nLzpe9n8VG5y86XvZ/FQEf3h+ij+KWio7LAFnkALHe4/OZ39MvOJurtB6Xj5LuHNJdfy3y0lkDJskbTySiNDNKJc1E7zKpwqrNnHVSSSOC64AC7009H94foo/ilpqgKKKKBW28MfSj3NVbZ9jWC37aWWQqyTY43IN8kpgII8m/CFhu0nRhQDQKsrbwx9KPc1NUBRRRQeX4D7KoMsZJe0WKJI0jZwgKSSSSwmBzGUEyNGpJYYjovF950ir9+A+yocn8TH0a+4UEsSkKATiIABY6MRHpr3RRQFUeVcmG0Q2iJSt+fjkAYsqsYhZ5QjFdIDYMJI0gG/TV5Slj8+bpR/jioIcgWB4bOI5CCcbsFVmdY0d2dIVZgCyopCgkDzeADQLGiigKVl4+P+D++OmqVl4+P+D++OghsuTmFpltEhUllWKIC/e4VGI33/iaRmJu9Cx8lWFFFAUrlPiX9lNUrlPiX9lBTZY2OSS22O0KUAXM3MWdWjzUrSSDNgXTB1KqMZGAriGmtHRRQFFFFBVS2ITWWWIqHxPLcpZovLEjlTnFBKEMAcQBIuvr1seyU0EJV2xO8rzOcTP5TknDiYAtcMIvuF919w4Azk7zD0sv+R6aoCiiigVj+8P0UfxS0UR/eH6KP4paKCJoS1oe6R03qPQojN/lS85TUu1G18vVD4KE49+ij+KWsFbYGay3CK1OBugIQ8dqZ1tkkoexS+WMQOAvhkOhb+EGg3u1G18vVD4KNqNr5eqHwUyvBprtBWWyytfHv8vGj0Q8jfopnaja+Xqh8FFt4Y+lHuaqdyBb7ViFpwtYogWUWrDiUzYhEyi4NhePRGcRJ5RQXG1G18vVD4KNqNr5eqHwUpsVJ3PswYOrCzRqyyK6OHVQrBlYAg3g8NWtAo9ka47/LwckPgqGwWVszHv8ALxa+iHkH6KffgPsrPZe+4QECYkTWV7oRM5uWSJnLLECSuAOSCLtHsoLnaja+Xqh8FG1G18vVD4KpMlopynM6QyQ4Y2jYmKZBanLIzTNIVwsFuCppJ8qT8N1+loFdqNr5eqHwUrZLK2Obf5eNHoh1cX6KtKrZLsFpxY7sRvzecx3ZqPzc35V/8dNAxtRtfL1Q+Cjaja+Xqh8FZGzw4hkwiGXPpHCJC0FoSQRqjKwM7ACNVbGWQ6X8kaL1v3FArtRtfL1Q+ClpLK2fTf5fMf0Q8sf6Ks6Vl4+P+D++OgNqNr5eqHwUbUbXy9UPgrP2mKZrZa0s+cUvHZ/LlNpjjuUy55YZSrBWwsnmaAWvuvvqz2IxOuTrMsqlHWzorIS5KkKBccQBvuuvvHDfw8NA7tRtfL1Q+Clso2Vsy+/y8HJD4Ks6VynxL+ygNqNr5eqHwUbUbXy9UPgqpyyP+vg4+42edGZFndFxBMN4UFQ2hrr9Po9NR7BYM3Z3jCAIkgRJhDJZWtCiOO+V45NOLFiUn04KC62o2vl6ofBRtRtfL1Q+CmqKCssFlbAd/l42T0Q6x/0UztRtfL1Q+CoobsxJixXY5r8GPFdjkvw4PKvu4MOnk01jbAJg1gYxO+CyWSNY54J2Ky42jtjlzdmZEQI2JxewW4X3m8NvtRtfL1Q+Cjaja+Xqh8FNUUCNliKzyXuz73HpbALtMvNArte4/vD9FH8UtFAR/eH6KP4paapBse2HwYOKjvxYudLyVLv37X96Bqild+/a/vRv37X96AtvDH0o9zU1VbbM7fHxXGjn8jUxv37X96Bqild+/a/vRv37X96Bh+A+yocn8TH0a+4V4fO3HiuD9dQ2DO5mPiuLXn8goLGild+/a/vRv37X96BqlLH583Sj/HFXd+/a/vS1kzuObiuNHP1cVBZ0Urvv7X96N+/a/vQNUrLx8f8AB/fHRv37X96XlzufTivMfn8sdBZUUrv37X96N+/a/vQNUrlPiX9lG/ftf3pfKOdzL8VwfroLKild+/a/vRv37X96Bqild+/a/vRv37X96Ayf5h6WX/I9NVWZPzuA8VxsnP1j0zvv7X96Bqild+/a/vRv37X96Aj+8P0UfxS0VHZcWfkx4eKjuw38svLXaD2nHv0UfxS1lpbbJJY2C2yQzm3TWWF4jEuJzI6pjUKb1jjUuRw4YzWpj+8P0UfxS1LFZEXzY0XTi8lVGm66/R6btFB7QXAC8m4XXm68/mbq9UUUCtt4Y+lHuas3l/K8iS2tEtAF0FkMaEoubaaaSJ/KuJQMAgLkHBeGuN1x0lt4Y+lHuapGsaEsTGhLLhYlVJZToKk+kXAaPyoK3Ypa2ksitIzMwkljJYqxGblkQJjGh8IULi/Fhv8ATVxXmOMKoVQFAFwVQAABwAAcAr1QeX4D7KosrWxorHZ3WbNb/ZUYnB5cbyRI8flcF6s3Bp0VevwH2UrZbOrwRh0Vxm1NzAML8N19x9poKLI1un3RkhlZ2GCaRhigeNFEqLZcAQ4o74i4IcC9ozdfcTWpqOOBVLFVVSxxMVABZuC83cJqSgKqLbaESK0vLM0CBwWlQgMowQ6F0HSeAAC8k6NN1W9JWeIM0ysoYGUXqwBB3uLhBoMfZMrziWIPaWLA2YLBihfOx2iedJBIUG+OkKLeVNwaFjwE372oEsUYKlY4wUvCkKowBvOC6NF/puqegKVl4+P+D++OmqVl4+P+D++OgzNuykwktpgtrYYrNIWLtC4jtS3FViUjQEW9WvvF7qNLK12oyfNjhje8NijVsQuN5IGnRQbBHexzUd7C5jhW9hw3E3adIHVU0cYUBVAUDQFAAAHIAKD1SuU+Jf2U1SuU+Jf2UFRlu2XW2COO0sj3h5IS0YjFm8oM7qwvLMblW433reNCvXvYjazJHK4naeIzbw8jI7mLAl7EqB5LOJGW/ThYcAIAuJLIjMGaNGYcDMqkj06CeCuwWVEvCIiXm8hFC3nlN1BLRRRQVjzKllleSUwopmLTAgGNQ8l7gkG672Vm0yhIIrLIbW+I2tUzbSQs+1pZykayRBd8coVQ6QU0t5RU4tZYkBjYMAQZZQQdIIzj6CK9pk+JSpWKMFb8JCqCuLhwm7Rf+VAxRRRQKx/eH6KP4paKI/vD9FH8UtFBE0rC0PhjL71HpvUXeVLy1Ltl9Se0leWYCWQsbgIUJOkXC+a81hJbfM1ikksUkkkJnzoAtDPPCiiERxMzksodhJIy33gMF0XtcG92xJqD2ko2xJqD2kpkV2grbZaHvj3k8aPxJyNTG2X1J7SUW3hj6Ue5qymW7Sj2u0Rx202ZkszJK0k8qrnHERQpFjGBUQEl0w8Zwk47g1e2H1J7SUbYk1B7SUnsVtOOyI1x8+RQxklnEgV3USrJISzIwAYXngYXXi41bUCj2h7jvJ4OclQ2C0PmY95PFr+JOQU+/AfZWW2U2pFsESGVoZJFCQyiWSzrHKU46RlIBVBe2Fr7yAACSKDQ7Yk1J7SUbYk1B7SVnNjmUXa3zLI2cLGYkB5f+njilVYFaInCokiZXVgAThY+VebtbQK7Yk1B7SUtZLQ+ObeTxo/Emriqzqkynao44LU85cRhxizbPG58iEBVZSCCSQOEDTpIF9BY7ZfUntJRtiTUHtJWXyVAZGsaraJZGVTPLLFaJ5IhCjMI7OSGwynGwTEwJZYHv03VsqBXbEmoPaSl5LQ+fTeT5j/iTljqypWXj4/4P746A2y+pPaSjbEmpPaSsTlnKKma0Zi0sgWSOKVJJ5rjJn487IVxXwQKt8ZZbgc4dFygnVbFJmawws5ctg0s5LFriQGDHS6kAFWOkrcTpJoHNsSag9pKXyjaHzL7yeDnJVlSuU+Jf2UBth9Se0lG2H1J7SVQ7IrSu3YIY7QYJyMeJpXWPNnGqpmS2GV3fRdcSApN4IW/mwSWRklxPnIwyKkmee1q8gRc80czgYlLXcGgHFwG8AL/AGxJqD2ko2xJqD2kpqigrMn2h8B3k8bJ+JNY9M7ZfUntJS+NBZpDK5RMcuNwzR4Vzj3tjUgr7QRdWIsVukvjBnlJEsYsuGWZ0nvtjraMBJ3+MQZsXvfcl5Fw00G/2xJqD2ko2xJqD2kpqigRssjGeTEmDeo9F4N+mXkrte4/vD9FH8UtFAR/eH6KP4paapB7SFtD3hzfFH5qSP8Ail9Kg1LuivNl7qfw0DVFK7orzZe6n8NG6K82Xup/DQFt4Y+lHuamqrLZlBb4/Jl40Hip+Rv00zuivNl7qfw0DVFK7orzZe6n8NG6K82Xup/DQMPwH2VDk/iY+jX3CvD5RW4+TLwaqfw1DYMoLmY/Jl4tf9KfkH6aCxopXdFebL3U/ho3RXmy91P4aBqlLH583Sj/ABxV3dFebL3U/hpWyZQXHL5MvGj/AEp9XF+mgtKKV3RXmy91P4aN0V5svdT+GgapWXj4/wCD++OjdFebL3U/hpaTKC59Dhl8x/8ASn5Y/wBNBZ0UruivNl7qfw0borzZe6n8NA1SuU+Jf2UborzZe6n8NLZRygphcYZeDVT+Ggs6KV3RXmy91P4aN0V5svdT+GgaopXdFebL3U/ho3RXmy91P4aAyf5h6WX/ACPTVVtitoVSCso3yQ8VNwM7EHzeQimN0V5svdT+GgaopXdFebL3U/ho3RXmy91P4aAj+8P0UfxS0VHZZw08hAYb3H5yunpl5wF9doPace/RR++Ws2mVLQglRpsTRZQs0V80ceNrPO8KMRmiFAYu5U3EgC4i/SNIovncHSM0guPp0y0uuxuyiPNCyWfN487m82mHOAXB7rvOAAAPoAHJQWIrtFFArbeGPpR7mpqlbbwx9KPc1NUBRRRQeX4D7KhyfxMfRr7hUz8B9lQ5P4mPo19woGKKKKApSx+fN0o/xxU3Slj8+bpR/jioG6KKKApWXj4/4P746apWXj4/4P746BqiiigKVynxL+ymqVynxL+ygaoqqyjbLQryCOHEqwl0IXEWkANy3Y1v03DDovvvxClLLb7aSMdniUZ3Cbr783jhGIeVzHmOnV8A4CGgorPPly2AkDJZIBcBs/HpCC8NddwPwL+fDcNNRTZatocFbBemZDmMkFhKTpjx4gDcLuBeXhoNNRWbbLNtJI2jm1uUh8SzkG/SMAZMRuI9IAuJvPBXVy5bMRG5puvOEmVV0KwAv0HhGn/jTw0GjorO2fLdsJIbJ5QXMQ2NTdcGwrd+I4govvA0k8FxMliyra2mVZLEEjbCMQkDFD5RZjo0i7ALtGkNpN4oLSP7w/RR/FLRRH94foo/ilooIzaUW0PjdVvijuxELf5UvLU26MWuj7a/OpytcwDkFBDujFro+2vzo3Ri10fbX51NgHIKMA5BQIWy3x3x77HxoPnryN+dM7oxa6Ptr86nwDkFcwDkFBDujFro+2vzo3Ri10fbX51NgHIKMA5BQLvlCK477Hwc9fnUNgyhHmY99j4tfxLyD86ewDkFGAcgoId0YtdH21+dG6MWuj7a/OpsA5BRgHIKCHdGLXR9tfnStkt8eOXfY+NH4l1cX51YYByCu4ByCgg3Ri10fbX50boxa6Ptr86mwDkFGAcgoId0YtdH21+dLSW+PPoc7H5j/jXlT86fwDkFdwDkFBBujFro+2vzo3Ri10fbX51NgHIKMA5BQQ7oxa6Ptr86Wyjb4zC4EsfBz1+dP4ByCu4ByCgg3Ri1sfbX50boxa6Ptr86mwDkFGAcgoId0YtdH21+dG6MWtj7a/OpsA5BRgHIKCHdGLXR9tfnRujFrY+2vzqbAOQUYByCgh3Ri1sfbX50boxa6Ptr86mwDkFGAcgoFLNOrTuVZW3uPzSGu0y8lFOAUUH/2Q=="/>
          <p:cNvSpPr>
            <a:spLocks noChangeAspect="1" noChangeArrowheads="1"/>
          </p:cNvSpPr>
          <p:nvPr/>
        </p:nvSpPr>
        <p:spPr bwMode="auto">
          <a:xfrm>
            <a:off x="79375" y="-727075"/>
            <a:ext cx="1828800" cy="1504950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Rectangle 2"/>
          <p:cNvSpPr txBox="1">
            <a:spLocks noChangeArrowheads="1"/>
          </p:cNvSpPr>
          <p:nvPr/>
        </p:nvSpPr>
        <p:spPr bwMode="auto">
          <a:xfrm>
            <a:off x="1752600" y="5334000"/>
            <a:ext cx="7239000" cy="1066800"/>
          </a:xfrm>
          <a:prstGeom prst="rect">
            <a:avLst/>
          </a:prstGeom>
          <a:solidFill>
            <a:srgbClr val="F6EB0A"/>
          </a:solidFill>
          <a:ln w="25400">
            <a:solidFill>
              <a:srgbClr val="FFCC00"/>
            </a:solidFill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marL="117475" lvl="1" defTabSz="1019175" eaLnBrk="0" hangingPunct="0">
              <a:lnSpc>
                <a:spcPts val="2788"/>
              </a:lnSpc>
            </a:pPr>
            <a:r>
              <a:rPr lang="en-US" sz="2200" b="1" kern="0" dirty="0" smtClean="0">
                <a:ea typeface="LF_Kai" pitchFamily="2" charset="-122"/>
              </a:rPr>
              <a:t>And we changed the format slightly from a three-part case study to a five-part case study, as shown on the following slides that were given to the LDP class… </a:t>
            </a:r>
            <a:endParaRPr kumimoji="0" lang="en-US" sz="2200" b="1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rebuchet MS" pitchFamily="34" charset="0"/>
              <a:ea typeface="LF_Kai" pitchFamily="2" charset="-122"/>
              <a:cs typeface="LF_Kai"/>
            </a:endParaRPr>
          </a:p>
        </p:txBody>
      </p:sp>
    </p:spTree>
    <p:custDataLst>
      <p:tags r:id="rId1"/>
    </p:custDataLst>
  </p:cSld>
  <p:clrMapOvr>
    <a:masterClrMapping/>
  </p:clrMapOvr>
  <p:transition xmlns:p14="http://schemas.microsoft.com/office/powerpoint/2010/main">
    <p:cut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0" y="6446838"/>
            <a:ext cx="10058400" cy="1325562"/>
          </a:xfrm>
          <a:prstGeom prst="rect">
            <a:avLst/>
          </a:prstGeom>
          <a:solidFill>
            <a:schemeClr val="bg2">
              <a:lumMod val="75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lIns="50941" tIns="50941" rIns="50941" bIns="50941" anchor="ctr"/>
          <a:lstStyle/>
          <a:p>
            <a:pPr algn="ctr" eaLnBrk="0" hangingPunct="0">
              <a:spcBef>
                <a:spcPct val="50000"/>
              </a:spcBef>
              <a:defRPr/>
            </a:pPr>
            <a:endParaRPr lang="en-US">
              <a:ea typeface="+mn-ea"/>
              <a:cs typeface="+mn-cs"/>
            </a:endParaRPr>
          </a:p>
        </p:txBody>
      </p:sp>
      <p:sp>
        <p:nvSpPr>
          <p:cNvPr id="18435" name="Rectangle 4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98438" y="3124200"/>
            <a:ext cx="9639300" cy="304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50936" tIns="0" rIns="50936" bIns="0" anchor="ctr"/>
          <a:lstStyle/>
          <a:p>
            <a:pPr algn="ctr" defTabSz="1355725" eaLnBrk="0" hangingPunct="0"/>
            <a:endParaRPr lang="en-US" dirty="0" smtClean="0"/>
          </a:p>
          <a:p>
            <a:pPr algn="ctr" defTabSz="1355725" eaLnBrk="0" hangingPunct="0"/>
            <a:endParaRPr lang="en-US" sz="2200" dirty="0" smtClean="0"/>
          </a:p>
          <a:p>
            <a:pPr algn="ctr" defTabSz="1355725" eaLnBrk="0" hangingPunct="0"/>
            <a:endParaRPr lang="en-US" sz="2200" dirty="0" smtClean="0"/>
          </a:p>
          <a:p>
            <a:pPr algn="ctr" defTabSz="1355725" eaLnBrk="0" hangingPunct="0"/>
            <a:endParaRPr lang="en-US" sz="3000" dirty="0" smtClean="0">
              <a:solidFill>
                <a:schemeClr val="accent1"/>
              </a:solidFill>
            </a:endParaRPr>
          </a:p>
          <a:p>
            <a:pPr algn="ctr" defTabSz="1355725" eaLnBrk="0" hangingPunct="0"/>
            <a:r>
              <a:rPr lang="en-US" sz="2400" dirty="0" smtClean="0">
                <a:solidFill>
                  <a:schemeClr val="accent1"/>
                </a:solidFill>
              </a:rPr>
              <a:t>Presentation to UCOP Leadership Development Program</a:t>
            </a:r>
          </a:p>
          <a:p>
            <a:pPr algn="ctr" defTabSz="1355725" eaLnBrk="0" hangingPunct="0"/>
            <a:endParaRPr lang="en-US" sz="2200" dirty="0" smtClean="0"/>
          </a:p>
          <a:p>
            <a:pPr algn="ctr" defTabSz="1355725" eaLnBrk="0" hangingPunct="0"/>
            <a:r>
              <a:rPr lang="en-US" sz="1600" dirty="0" smtClean="0">
                <a:solidFill>
                  <a:schemeClr val="accent1"/>
                </a:solidFill>
              </a:rPr>
              <a:t>July 28, 2011</a:t>
            </a:r>
            <a:endParaRPr lang="en-US" sz="1600" dirty="0">
              <a:solidFill>
                <a:schemeClr val="accent1"/>
              </a:solidFill>
            </a:endParaRPr>
          </a:p>
        </p:txBody>
      </p:sp>
      <p:pic>
        <p:nvPicPr>
          <p:cNvPr id="18436" name="Picture 5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94113" y="433388"/>
            <a:ext cx="2671762" cy="275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Rectangle 7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0" y="0"/>
            <a:ext cx="10058400" cy="250825"/>
          </a:xfrm>
          <a:prstGeom prst="rect">
            <a:avLst/>
          </a:prstGeom>
          <a:solidFill>
            <a:schemeClr val="bg2">
              <a:lumMod val="75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lIns="50941" tIns="50941" rIns="50941" bIns="50941" anchor="ctr"/>
          <a:lstStyle/>
          <a:p>
            <a:pPr algn="ctr" eaLnBrk="0" hangingPunct="0">
              <a:spcBef>
                <a:spcPct val="50000"/>
              </a:spcBef>
              <a:defRPr/>
            </a:pPr>
            <a:endParaRPr lang="en-US">
              <a:ea typeface="+mn-ea"/>
              <a:cs typeface="+mn-cs"/>
            </a:endParaRPr>
          </a:p>
        </p:txBody>
      </p:sp>
      <p:sp>
        <p:nvSpPr>
          <p:cNvPr id="18438" name="Rectangle 8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 rot="10800000">
            <a:off x="0" y="6365875"/>
            <a:ext cx="10058400" cy="74613"/>
          </a:xfrm>
          <a:prstGeom prst="rect">
            <a:avLst/>
          </a:prstGeom>
          <a:solidFill>
            <a:srgbClr val="FFCC00"/>
          </a:solidFill>
          <a:ln w="9525">
            <a:noFill/>
            <a:miter lim="800000"/>
            <a:headEnd/>
            <a:tailEnd/>
          </a:ln>
        </p:spPr>
        <p:txBody>
          <a:bodyPr wrap="none" lIns="50941" tIns="50941" rIns="50941" bIns="50941" anchor="ctr"/>
          <a:lstStyle/>
          <a:p>
            <a:pPr algn="ctr" eaLnBrk="0" hangingPunct="0">
              <a:spcBef>
                <a:spcPct val="50000"/>
              </a:spcBef>
            </a:pPr>
            <a:endParaRPr lang="en-US"/>
          </a:p>
        </p:txBody>
      </p:sp>
      <p:sp>
        <p:nvSpPr>
          <p:cNvPr id="18439" name="Rectangle 9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 rot="10800000">
            <a:off x="0" y="185738"/>
            <a:ext cx="10058400" cy="74612"/>
          </a:xfrm>
          <a:prstGeom prst="rect">
            <a:avLst/>
          </a:prstGeom>
          <a:solidFill>
            <a:srgbClr val="FFCC00"/>
          </a:solidFill>
          <a:ln w="9525">
            <a:noFill/>
            <a:miter lim="800000"/>
            <a:headEnd/>
            <a:tailEnd/>
          </a:ln>
        </p:spPr>
        <p:txBody>
          <a:bodyPr wrap="none" lIns="50941" tIns="50941" rIns="50941" bIns="50941" anchor="ctr"/>
          <a:lstStyle/>
          <a:p>
            <a:pPr algn="ctr" eaLnBrk="0" hangingPunct="0">
              <a:spcBef>
                <a:spcPct val="50000"/>
              </a:spcBef>
            </a:pPr>
            <a:endParaRPr lang="en-US"/>
          </a:p>
        </p:txBody>
      </p:sp>
      <p:pic>
        <p:nvPicPr>
          <p:cNvPr id="8" name="Picture 3"/>
          <p:cNvPicPr>
            <a:picLocks noChangeAspect="1" noChangeArrowheads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362200" y="3352800"/>
            <a:ext cx="5412013" cy="121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custDataLst>
      <p:tags r:id="rId1"/>
    </p:custData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auto">
          <a:xfrm>
            <a:off x="1014350" y="1490350"/>
            <a:ext cx="8282050" cy="4953000"/>
          </a:xfrm>
          <a:prstGeom prst="rect">
            <a:avLst/>
          </a:prstGeom>
          <a:solidFill>
            <a:schemeClr val="accent2">
              <a:lumMod val="60000"/>
              <a:lumOff val="40000"/>
              <a:alpha val="50000"/>
            </a:schemeClr>
          </a:solidFill>
          <a:ln w="38100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24577" name="Rectangle 2"/>
          <p:cNvSpPr>
            <a:spLocks noGrp="1" noChangeArrowheads="1"/>
          </p:cNvSpPr>
          <p:nvPr>
            <p:ph type="title"/>
          </p:nvPr>
        </p:nvSpPr>
        <p:spPr>
          <a:xfrm>
            <a:off x="762000" y="838200"/>
            <a:ext cx="7696200" cy="288925"/>
          </a:xfrm>
        </p:spPr>
        <p:txBody>
          <a:bodyPr/>
          <a:lstStyle/>
          <a:p>
            <a:pPr lvl="1"/>
            <a:r>
              <a:rPr lang="en-US" sz="2300" dirty="0" smtClean="0"/>
              <a:t>Case studies:  structured in 5 parts </a:t>
            </a:r>
          </a:p>
        </p:txBody>
      </p:sp>
      <p:sp>
        <p:nvSpPr>
          <p:cNvPr id="93186" name="AutoShape 2" descr="data:image/jpg;base64,/9j/4AAQSkZJRgABAQAAAQABAAD/2wCEAAkGBhQSDhQQEA8QEBQUEBkQFA4QFhEQFBAQFBwWFRUQFRQYHycqFxkjGRUTHy8iIycsLCwsFR4xQTIqNSYrLSkBCQoKBQUFDQUFDSkYEhgpKSkpKSkpKSkpKSkpKSkpKSkpKSkpKSkpKSkpKSkpKSkpKSkpKSkpKSkpKSkpKSkpKf/AABEIAMwA9wMBIgACEQEDEQH/xAAbAAACAwEBAQAAAAAAAAAAAAAABAMFBgECB//EAEkQAAIBAQMEDQkIAQMDBQEAAAECAwAEERIFEyFTBhQVIzEzUVJzkZKT0iIyQVRxsbLR0wc0QmFiY3Kis0OBoSR0dRY1NsHCCP/EABQBAQAAAAAAAAAAAAAAAAAAAAD/xAAUEQEAAAAAAAAAAAAAAAAAAAAA/9oADAMBAAIRAxEAPwD7PLaXzhRERrkViWcp5xYXABTzf+a5nJtXF3j/AE67H94foo/ilpqgUzk2ri7x/p0ZybVxd4/06booFM5Nq4u8f6dGcm1cXeP9Om6KBTOTauLvH+nRnJtXF3j/AE6booFM5Nq4u8f6dGcm1cXeP9Om6KBTOTauLvH+nRnJtXF3j/TrL5O+0FpctS5KNjwtCpkefPBlzVyFXC4LyTnI9HovOnRV3YNl1kmWV4bVFKsK4pShLZpdOluTzT1Ggdzk2ri7x/p0ZybVxd4/06rZNnNhWBLQ1tgELsUSYtcjuvnKG4CR/wDR5KnynssslnEZtFqihEq4o84cOcGjzb+HhGj86BvOTauLvH+nRnJtXF3j/TqOfL0CWiOzPMizSrijhN+J106VHpHknqqHZRsijsNjltc2IpGAcK6WdmIVUH5liBQNZybVxd4/06M5Nq4u8f6dYXYr9sAtNshslpsEtia0xCazu7iRZkYMVbzVuDBWuOm8i6qu1f8A9ARLLI0eT55bLHMIXtiuo8psWErGRpvCORew0D0UH07OTauLvH+nRnJtXF3j/TrH7LPtjsNiiVlfbUsiJIlniNzZuRQ6u7Eb2CjAgHSbxo9Ij2WfbNZLEqLcbROwUtZYmF8IYBt8e64EXjRw/kKDaZybVxd4/wBOjOTauLvH+nTQNdoFM5Nq4u8f6dGcm1cXeP8ATpuigUzk2ri7x/p0ZybVxd4/06booFM5Nq4u8f6dGcm1cXeP9Om6KBTOTauLvH+nRnJtXF3j/TpuigWs1oYuyOiqQqterFwQxYelRd5v/NFcj+8P0UfxS0UBH94foo/ilpqlY/vD9FH8UtNUBRRRQFFFFAUUUUBRRRQfJtjv/wA5yh/2Q+Gx1P8AZMdGWf8AyU3/AOqNhViefZPlDKcattUxbWSZlZBLKogVgmIDEAYXvI/Llq+H2evFPa3sVuazJbWMk0LRJNhka/FJC5YYCcR4Qw6hQfNNkf8A8Lyb/wB2nvtNfTPtY2ObcyTMqm6WAbbhN9xDxXkge1cS+0jkrxsk+zGO05Ns+TYp2s8NnZXBwCV3KBlUkkgaS7k6NJPopj/0VO00882UM7JLYmsKnMIiQxu2JmCB/KY/meTkuoEfs0tj5QUZXnW5mgWxwryLHcbTLcDozk4YfxiWtXsgyLBarM0FrQPCbnZWZox5BxAllIIAIv4fRSOwfYtudYlsYmz6ozFHKCMgOS5U3E3+UW06OGvOz/ItoteTZrLZJEiklATHIWVc2SM4pKgnSt44PTQfKNg9lGU9kBtkCFLFk6IQ2cHEd7jVo7OgLabz5chvvI4Dw18/yd/7Ba//ACFl+C019m+znYRlbJ7xwSTZP2mHd5o4gxlkLKbjiMYvN+AcPAt1Ze0fYdlBBNYoJrIbJLaUnz0hkEqiISKgKheG6Q3gX3kDSNNAl9p2S4l2O5JtCwxrK8MKvMqqHdRZxcGYC9rsK3X8F1TfbrkyJLPk2ZIY0kkRs5KiqrS3JBdjYDyrrzw8tbn7QvsymteS7HYbJJENq4VxTlkxIkebB8lW0nQaj+077NrTlGz2KKzvZ1azKwcys6gkrGow4UN+lDw3eig+lrwV2uCu0BRRRQFFFFAUUUUBRRRQKx/eH6KP4paKI/vD9FH8UtFBE8xW0PdG771HpUxi7ypecwqXbjery9cHjoRv+ofoo/ilpLZRY89Y5IlMt7YQDCY8YuZTiukIV1F17KfOUMum+6gd22/q8vXB46NuN6vL1weOvncOxm1XPnLLGpkzUxWJohEjR2aeJogpbyTnGW4C8DH51wJGm2FZJls2ejm0qrJFBKSpaSzIt8eO4+egbNknhzd/poL7bjery9cHjo243q8vXB46ZxjlFUmzHJW2rC9mUm+Ro1xIQGjGcQmUEkaVALcuigstuN6vL1weOjbjery9cHjr53FsZtmcd7TDtgSSvJLEjxYZJpbJCiugZh5CTCdBfcRjVrvSHtj2xy1w2yB5TnUJU2h2dTdaYbKIBaUBN5Ehd1bRffGhu0mg223G9Xl64PHRtxvV5euDx0xjHKK7jHKKBbbbery9cHjo22/q8vXB46zuXtjQmyhFKIUZTZ5xLKSuic7W2uTeb9Gae64XDTzjfl//AEraTHZcVlJzUMEMqE2aQsYbLaonNzOAymWWIAk+jFoABoPpW3G9Xl64PHRtxvV5euDx1NEwwjgGgaL77vyvr3jHKKBbbjery9cHjo22/q8vXB46yez3Y5NaZFay6C9knsssiuEZL83PAwvIv32HBo9ExqqtOxm0GYytZsRlsV7qu12CWyV7TK6B2cFcBmj8pb8QQLwUH0Hbjery9cHjo243q8vXB46zmwTJMsAkzq5lGis6LAWVrpo4gs81ykhcTYRoOnNk+nTrMY5RQLbcb1eXrg8dG239Xl64PHXu1QJIhjkCurC5kPAw5DyivmE2wu07TjWODNynJ1viluaC9rRNm1gQnHdeVQjEOD0kUH0zbjery9cHjo243q8vXB46yWxzIU0dsxPFgRbRaZw+KMqUnWEIoAN+IYXBF1wwfmL9tjHKKBbbjery9cHjo22/q8vXB46YxjlFfPdkWxSeaXKEixK2cezmAERFnwizrI6uXGFQElBQ3Yr7+Sg3W3G9Xl64PHRtxvV5euDx1kth+RZ4bYzzxYFFmkhxhozGzm1TyjNqGJSMxyIVU+aLlvJWtrjHKKBfbjery9cHjo243q8vXB46ZxjlFZjZ3k2SeFBAhkdHMixnNtDI2BkzVoVmXyGDsMS6UNzeigvttt6vL1weOjbjery9cHjr59lLY5aZXtDtZseeezWlAXibMyJaFE0VzPdi2qkIJGgiMjhYg/RbNCkaLGgCqihFUcCqouAH+1AvZZS08l6Mm9x6GwG/TLzWNFSRH/qH6KP4paKCM2ZGtD40Rroo/OUNd5UvLU250Wpj7C/KvMf3h+ij+KWmqBfc6LUx9hflRudFqY+wvypiigrrZk+O+Peo+NH4F5G/KmdzotTH2F+Vebbwx9KPc1NUC+50Wpj7C/Kjc6LUx9hflTFFAq+TorjvMXBzF+VQ2DJ8eZj3qPi1/AvIPyp5+A+yocn8TH0a+4UBudFqY+wvyo3Oi1MfYX5UxRQL7nRamPsL8qVsmT48cu9R8aPwLq4vyqypSx+fN0o/xxUHvc6LUx9hflRudFqY+wvypiigX3Oi1MfYX5UtJk+PPoM1H5j/AIF5Y/yqxpWXj4/4P746D1udFqY+wvyo3Oi1MfYX5UxRQL7nRamPsL8qWyjk+MQvvUfBzF+VWNK5T4l/ZQLSmBbQlnMK45EaRd6GHCmENe911/lDRw03udFqY+wvypa15NdrXDOsiKsSupjKMzPnMN5DhgFuwj8J9NWNAvudFqY+wvyrm50Wpj7C/KmaKCpgssawu+11kIkluREjLNdI9yi+4dZAr3kzMzxCRYFXynQo6IGSSNmjdDdeLwysLwSDdoJFdzLvZpEhlEMjPKFlK5zAxkfysN4vu9tS5GsBhgWIlDhvF8augN5JvON3JY33lixJJJ9NBLudFqY+wvyo3Oi1MfYX5UxRQJWaBVncIqrvUfmgLfpl5KK9x/eH6KP4paKAj+8P0UfxS01Ve9mDWhyS4uiTzXkT8UvoUi+oMmzQzhs29ovRgrJI1rhdSQGF6SEG4ggg3XUFvRSu5y86XvZ/FRucvOl72fxUBbeGPpR7mpqqy2ZPW+PypeNA42fkb9Vcvhz+1s7Jnc0Zs3nbReIwQuI+Vo0kDTw6eQ0FpRSu5y86XvZ/FRucvOl72fxUDD8B9lQ5P4mPo19wrw+TluPlS8Gtn8VVrSwwwQmRrR5YVFWM2yZmbAXICR4j5qseD0UF7RSi5PUi/FN/vLOP+MVd3OXnS97P4qBqlLH583Sj/HFXdzl50vez+KkM1HGJ5JJJFRJLyxln0DNxcjaT/wA0FzRSFmsySIHU2gAi8B3tUTf7o5BH+4qXc5edL3s/ioGqVl4+P+D++Ojc5edL3s/ipaTJ655Bil8x/wDVn5Y/1UFnRVPHaIWtG18VqElzMA+3UVlQqGZZGuVgC68BPnCntzl50vez+KgapXKfEv7KNzl50vez+Klso5PUQucUvBrZ/FQWdFU9qtMEcqxPLMHbDoD2pgucYpHjcG5MTgquIi8i4U9ucvOl72fxUDVcpbc5edL3s/io3OXnS97P4qAyd5h6WX/I9NVTJHFFA8skkqqskhLZ2c6BI40ANeSdAuGkk1PYFimjzkbzFbyumS0oyspKsrKzAqQQRcRQWVFK7nLzpe9n8VG5y86XvZ/FQEf3h+ij+KWio7LAFnkALHe4/OZ39MvOJurtB6Xj5LuHNJdfy3y0lkDJskbTySiNDNKJc1E7zKpwqrNnHVSSSOC64AC7009H94foo/ilpqgKKKKBW28MfSj3NVbZ9jWC37aWWQqyTY43IN8kpgII8m/CFhu0nRhQDQKsrbwx9KPc1NUBRRRQeX4D7KoMsZJe0WKJI0jZwgKSSSSwmBzGUEyNGpJYYjovF950ir9+A+yocn8TH0a+4UEsSkKATiIABY6MRHpr3RRQFUeVcmG0Q2iJSt+fjkAYsqsYhZ5QjFdIDYMJI0gG/TV5Slj8+bpR/jioIcgWB4bOI5CCcbsFVmdY0d2dIVZgCyopCgkDzeADQLGiigKVl4+P+D++OmqVl4+P+D++OghsuTmFpltEhUllWKIC/e4VGI33/iaRmJu9Cx8lWFFFAUrlPiX9lNUrlPiX9lBTZY2OSS22O0KUAXM3MWdWjzUrSSDNgXTB1KqMZGAriGmtHRRQFFFFBVS2ITWWWIqHxPLcpZovLEjlTnFBKEMAcQBIuvr1seyU0EJV2xO8rzOcTP5TknDiYAtcMIvuF919w4Azk7zD0sv+R6aoCiiigVj+8P0UfxS0UR/eH6KP4paKCJoS1oe6R03qPQojN/lS85TUu1G18vVD4KE49+ij+KWsFbYGay3CK1OBugIQ8dqZ1tkkoexS+WMQOAvhkOhb+EGg3u1G18vVD4KNqNr5eqHwUyvBprtBWWyytfHv8vGj0Q8jfopnaja+Xqh8FFt4Y+lHuaqdyBb7ViFpwtYogWUWrDiUzYhEyi4NhePRGcRJ5RQXG1G18vVD4KNqNr5eqHwUpsVJ3PswYOrCzRqyyK6OHVQrBlYAg3g8NWtAo9ka47/LwckPgqGwWVszHv8ALxa+iHkH6KffgPsrPZe+4QECYkTWV7oRM5uWSJnLLECSuAOSCLtHsoLnaja+Xqh8FG1G18vVD4KpMlopynM6QyQ4Y2jYmKZBanLIzTNIVwsFuCppJ8qT8N1+loFdqNr5eqHwUrZLK2Obf5eNHoh1cX6KtKrZLsFpxY7sRvzecx3ZqPzc35V/8dNAxtRtfL1Q+Cjaja+Xqh8FZGzw4hkwiGXPpHCJC0FoSQRqjKwM7ACNVbGWQ6X8kaL1v3FArtRtfL1Q+ClpLK2fTf5fMf0Q8sf6Ks6Vl4+P+D++OgNqNr5eqHwUbUbXy9UPgrP2mKZrZa0s+cUvHZ/LlNpjjuUy55YZSrBWwsnmaAWvuvvqz2IxOuTrMsqlHWzorIS5KkKBccQBvuuvvHDfw8NA7tRtfL1Q+Clso2Vsy+/y8HJD4Ks6VynxL+ygNqNr5eqHwUbUbXy9UPgqpyyP+vg4+42edGZFndFxBMN4UFQ2hrr9Po9NR7BYM3Z3jCAIkgRJhDJZWtCiOO+V45NOLFiUn04KC62o2vl6ofBRtRtfL1Q+CmqKCssFlbAd/l42T0Q6x/0UztRtfL1Q+CoobsxJixXY5r8GPFdjkvw4PKvu4MOnk01jbAJg1gYxO+CyWSNY54J2Ky42jtjlzdmZEQI2JxewW4X3m8NvtRtfL1Q+Cjaja+Xqh8FNUUCNliKzyXuz73HpbALtMvNArte4/vD9FH8UtFAR/eH6KP4paapBse2HwYOKjvxYudLyVLv37X96Bqild+/a/vRv37X96AtvDH0o9zU1VbbM7fHxXGjn8jUxv37X96Bqild+/a/vRv37X96Bh+A+yocn8TH0a+4V4fO3HiuD9dQ2DO5mPiuLXn8goLGild+/a/vRv37X96BqlLH583Sj/HFXd+/a/vS1kzuObiuNHP1cVBZ0Urvv7X96N+/a/vQNUrLx8f8AB/fHRv37X96XlzufTivMfn8sdBZUUrv37X96N+/a/vQNUrlPiX9lG/ftf3pfKOdzL8VwfroLKild+/a/vRv37X96Bqild+/a/vRv37X96Ayf5h6WX/I9NVWZPzuA8VxsnP1j0zvv7X96Bqild+/a/vRv37X96Aj+8P0UfxS0VHZcWfkx4eKjuw38svLXaD2nHv0UfxS1lpbbJJY2C2yQzm3TWWF4jEuJzI6pjUKb1jjUuRw4YzWpj+8P0UfxS1LFZEXzY0XTi8lVGm66/R6btFB7QXAC8m4XXm68/mbq9UUUCtt4Y+lHuas3l/K8iS2tEtAF0FkMaEoubaaaSJ/KuJQMAgLkHBeGuN1x0lt4Y+lHuapGsaEsTGhLLhYlVJZToKk+kXAaPyoK3Ypa2ksitIzMwkljJYqxGblkQJjGh8IULi/Fhv8ATVxXmOMKoVQFAFwVQAABwAAcAr1QeX4D7KosrWxorHZ3WbNb/ZUYnB5cbyRI8flcF6s3Bp0VevwH2UrZbOrwRh0Vxm1NzAML8N19x9poKLI1un3RkhlZ2GCaRhigeNFEqLZcAQ4o74i4IcC9ozdfcTWpqOOBVLFVVSxxMVABZuC83cJqSgKqLbaESK0vLM0CBwWlQgMowQ6F0HSeAAC8k6NN1W9JWeIM0ysoYGUXqwBB3uLhBoMfZMrziWIPaWLA2YLBihfOx2iedJBIUG+OkKLeVNwaFjwE372oEsUYKlY4wUvCkKowBvOC6NF/puqegKVl4+P+D++OmqVl4+P+D++OgzNuykwktpgtrYYrNIWLtC4jtS3FViUjQEW9WvvF7qNLK12oyfNjhje8NijVsQuN5IGnRQbBHexzUd7C5jhW9hw3E3adIHVU0cYUBVAUDQFAAAHIAKD1SuU+Jf2U1SuU+Jf2UFRlu2XW2COO0sj3h5IS0YjFm8oM7qwvLMblW433reNCvXvYjazJHK4naeIzbw8jI7mLAl7EqB5LOJGW/ThYcAIAuJLIjMGaNGYcDMqkj06CeCuwWVEvCIiXm8hFC3nlN1BLRRRQVjzKllleSUwopmLTAgGNQ8l7gkG672Vm0yhIIrLIbW+I2tUzbSQs+1pZykayRBd8coVQ6QU0t5RU4tZYkBjYMAQZZQQdIIzj6CK9pk+JSpWKMFb8JCqCuLhwm7Rf+VAxRRRQKx/eH6KP4paKI/vD9FH8UtFBE0rC0PhjL71HpvUXeVLy1Ltl9Se0leWYCWQsbgIUJOkXC+a81hJbfM1ikksUkkkJnzoAtDPPCiiERxMzksodhJIy33gMF0XtcG92xJqD2ko2xJqD2kpkV2grbZaHvj3k8aPxJyNTG2X1J7SUW3hj6Ue5qymW7Sj2u0Rx202ZkszJK0k8qrnHERQpFjGBUQEl0w8Zwk47g1e2H1J7SUbYk1B7SUnsVtOOyI1x8+RQxklnEgV3USrJISzIwAYXngYXXi41bUCj2h7jvJ4OclQ2C0PmY95PFr+JOQU+/AfZWW2U2pFsESGVoZJFCQyiWSzrHKU46RlIBVBe2Fr7yAACSKDQ7Yk1J7SUbYk1B7SVnNjmUXa3zLI2cLGYkB5f+njilVYFaInCokiZXVgAThY+VebtbQK7Yk1B7SUtZLQ+ObeTxo/Emriqzqkynao44LU85cRhxizbPG58iEBVZSCCSQOEDTpIF9BY7ZfUntJRtiTUHtJWXyVAZGsaraJZGVTPLLFaJ5IhCjMI7OSGwynGwTEwJZYHv03VsqBXbEmoPaSl5LQ+fTeT5j/iTljqypWXj4/4P746A2y+pPaSjbEmpPaSsTlnKKma0Zi0sgWSOKVJJ5rjJn487IVxXwQKt8ZZbgc4dFygnVbFJmawws5ctg0s5LFriQGDHS6kAFWOkrcTpJoHNsSag9pKXyjaHzL7yeDnJVlSuU+Jf2UBth9Se0lG2H1J7SVQ7IrSu3YIY7QYJyMeJpXWPNnGqpmS2GV3fRdcSApN4IW/mwSWRklxPnIwyKkmee1q8gRc80czgYlLXcGgHFwG8AL/AGxJqD2ko2xJqD2kpqigrMn2h8B3k8bJ+JNY9M7ZfUntJS+NBZpDK5RMcuNwzR4Vzj3tjUgr7QRdWIsVukvjBnlJEsYsuGWZ0nvtjraMBJ3+MQZsXvfcl5Fw00G/2xJqD2ko2xJqD2kpqigRssjGeTEmDeo9F4N+mXkrte4/vD9FH8UtFAR/eH6KP4paapB7SFtD3hzfFH5qSP8Ail9Kg1LuivNl7qfw0DVFK7orzZe6n8NG6K82Xup/DQFt4Y+lHuamqrLZlBb4/Jl40Hip+Rv00zuivNl7qfw0DVFK7orzZe6n8NG6K82Xup/DQMPwH2VDk/iY+jX3CvD5RW4+TLwaqfw1DYMoLmY/Jl4tf9KfkH6aCxopXdFebL3U/ho3RXmy91P4aBqlLH583Sj/ABxV3dFebL3U/hpWyZQXHL5MvGj/AEp9XF+mgtKKV3RXmy91P4aN0V5svdT+GgapWXj4/wCD++OjdFebL3U/hpaTKC59Dhl8x/8ASn5Y/wBNBZ0UruivNl7qfw0borzZe6n8NA1SuU+Jf2UborzZe6n8NLZRygphcYZeDVT+Ggs6KV3RXmy91P4aN0V5svdT+GgaopXdFebL3U/ho3RXmy91P4aAyf5h6WX/ACPTVVtitoVSCso3yQ8VNwM7EHzeQimN0V5svdT+GgaopXdFebL3U/ho3RXmy91P4aAj+8P0UfxS0VHZZw08hAYb3H5yunpl5wF9doPace/RR++Ws2mVLQglRpsTRZQs0V80ceNrPO8KMRmiFAYu5U3EgC4i/SNIovncHSM0guPp0y0uuxuyiPNCyWfN487m82mHOAXB7rvOAAAPoAHJQWIrtFFArbeGPpR7mpqlbbwx9KPc1NUBRRRQeX4D7KhyfxMfRr7hUz8B9lQ5P4mPo19woGKKKKApSx+fN0o/xxU3Slj8+bpR/jioG6KKKApWXj4/4P746apWXj4/4P746BqiiigKVynxL+ymqVynxL+ygaoqqyjbLQryCOHEqwl0IXEWkANy3Y1v03DDovvvxClLLb7aSMdniUZ3Cbr783jhGIeVzHmOnV8A4CGgorPPly2AkDJZIBcBs/HpCC8NddwPwL+fDcNNRTZatocFbBemZDmMkFhKTpjx4gDcLuBeXhoNNRWbbLNtJI2jm1uUh8SzkG/SMAZMRuI9IAuJvPBXVy5bMRG5puvOEmVV0KwAv0HhGn/jTw0GjorO2fLdsJIbJ5QXMQ2NTdcGwrd+I4govvA0k8FxMliyra2mVZLEEjbCMQkDFD5RZjo0i7ALtGkNpN4oLSP7w/RR/FLRRH94foo/ilooIzaUW0PjdVvijuxELf5UvLU26MWuj7a/OpytcwDkFBDujFro+2vzo3Ri10fbX51NgHIKMA5BQIWy3x3x77HxoPnryN+dM7oxa6Ptr86nwDkFcwDkFBDujFro+2vzo3Ri10fbX51NgHIKMA5BQLvlCK477Hwc9fnUNgyhHmY99j4tfxLyD86ewDkFGAcgoId0YtdH21+dG6MWuj7a/OpsA5BRgHIKCHdGLXR9tfnStkt8eOXfY+NH4l1cX51YYByCu4ByCgg3Ri10fbX50boxa6Ptr86mwDkFGAcgoId0YtdH21+dLSW+PPoc7H5j/jXlT86fwDkFdwDkFBBujFro+2vzo3Ri10fbX51NgHIKMA5BQQ7oxa6Ptr86Wyjb4zC4EsfBz1+dP4ByCu4ByCgg3Ri1sfbX50boxa6Ptr86mwDkFGAcgoId0YtdH21+dG6MWtj7a/OpsA5BRgHIKCHdGLXR9tfnRujFrY+2vzqbAOQUYByCgh3Ri1sfbX50boxa6Ptr86mwDkFGAcgoFLNOrTuVZW3uPzSGu0y8lFOAUUH/2Q=="/>
          <p:cNvSpPr>
            <a:spLocks noChangeAspect="1" noChangeArrowheads="1"/>
          </p:cNvSpPr>
          <p:nvPr/>
        </p:nvSpPr>
        <p:spPr bwMode="auto">
          <a:xfrm>
            <a:off x="4572000" y="-971550"/>
            <a:ext cx="2352675" cy="1943100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3188" name="AutoShape 4" descr="data:image/jpg;base64,/9j/4AAQSkZJRgABAQAAAQABAAD/2wCEAAkGBhQSDhQQEA8QEBQUEBkQFA4QFhEQFBAQFBwWFRUQFRQYHycqFxkjGRUTHy8iIycsLCwsFR4xQTIqNSYrLSkBCQoKBQUFDQUFDSkYEhgpKSkpKSkpKSkpKSkpKSkpKSkpKSkpKSkpKSkpKSkpKSkpKSkpKSkpKSkpKSkpKSkpKf/AABEIAMwA9wMBIgACEQEDEQH/xAAbAAACAwEBAQAAAAAAAAAAAAAABAMFBgECB//EAEkQAAIBAQMEDQkIAQMDBQEAAAECAwAEERIFEyFTBhQVIzEzUVJzkZKT0iIyQVRxsbLR0wc0QmFiY3Kis0OBoSR0dRY1NsHCCP/EABQBAQAAAAAAAAAAAAAAAAAAAAD/xAAUEQEAAAAAAAAAAAAAAAAAAAAA/9oADAMBAAIRAxEAPwD7PLaXzhRERrkViWcp5xYXABTzf+a5nJtXF3j/AE67H94foo/ilpqgUzk2ri7x/p0ZybVxd4/06booFM5Nq4u8f6dGcm1cXeP9Om6KBTOTauLvH+nRnJtXF3j/AE6booFM5Nq4u8f6dGcm1cXeP9Om6KBTOTauLvH+nRnJtXF3j/TrL5O+0FpctS5KNjwtCpkefPBlzVyFXC4LyTnI9HovOnRV3YNl1kmWV4bVFKsK4pShLZpdOluTzT1Ggdzk2ri7x/p0ZybVxd4/06rZNnNhWBLQ1tgELsUSYtcjuvnKG4CR/wDR5KnynssslnEZtFqihEq4o84cOcGjzb+HhGj86BvOTauLvH+nRnJtXF3j/TqOfL0CWiOzPMizSrijhN+J106VHpHknqqHZRsijsNjltc2IpGAcK6WdmIVUH5liBQNZybVxd4/06M5Nq4u8f6dYXYr9sAtNshslpsEtia0xCazu7iRZkYMVbzVuDBWuOm8i6qu1f8A9ARLLI0eT55bLHMIXtiuo8psWErGRpvCORew0D0UH07OTauLvH+nRnJtXF3j/TrH7LPtjsNiiVlfbUsiJIlniNzZuRQ6u7Eb2CjAgHSbxo9Ij2WfbNZLEqLcbROwUtZYmF8IYBt8e64EXjRw/kKDaZybVxd4/wBOjOTauLvH+nTQNdoFM5Nq4u8f6dGcm1cXeP8ATpuigUzk2ri7x/p0ZybVxd4/06booFM5Nq4u8f6dGcm1cXeP9Om6KBTOTauLvH+nRnJtXF3j/TpuigWs1oYuyOiqQqterFwQxYelRd5v/NFcj+8P0UfxS0UBH94foo/ilpqlY/vD9FH8UtNUBRRRQFFFFAUUUUBRRRQfJtjv/wA5yh/2Q+Gx1P8AZMdGWf8AyU3/AOqNhViefZPlDKcattUxbWSZlZBLKogVgmIDEAYXvI/Llq+H2evFPa3sVuazJbWMk0LRJNhka/FJC5YYCcR4Qw6hQfNNkf8A8Lyb/wB2nvtNfTPtY2ObcyTMqm6WAbbhN9xDxXkge1cS+0jkrxsk+zGO05Ns+TYp2s8NnZXBwCV3KBlUkkgaS7k6NJPopj/0VO00882UM7JLYmsKnMIiQxu2JmCB/KY/meTkuoEfs0tj5QUZXnW5mgWxwryLHcbTLcDozk4YfxiWtXsgyLBarM0FrQPCbnZWZox5BxAllIIAIv4fRSOwfYtudYlsYmz6ozFHKCMgOS5U3E3+UW06OGvOz/ItoteTZrLZJEiklATHIWVc2SM4pKgnSt44PTQfKNg9lGU9kBtkCFLFk6IQ2cHEd7jVo7OgLabz5chvvI4Dw18/yd/7Ba//ACFl+C019m+znYRlbJ7xwSTZP2mHd5o4gxlkLKbjiMYvN+AcPAt1Ze0fYdlBBNYoJrIbJLaUnz0hkEqiISKgKheG6Q3gX3kDSNNAl9p2S4l2O5JtCwxrK8MKvMqqHdRZxcGYC9rsK3X8F1TfbrkyJLPk2ZIY0kkRs5KiqrS3JBdjYDyrrzw8tbn7QvsymteS7HYbJJENq4VxTlkxIkebB8lW0nQaj+077NrTlGz2KKzvZ1azKwcys6gkrGow4UN+lDw3eig+lrwV2uCu0BRRRQFFFFAUUUUBRRRQKx/eH6KP4paKI/vD9FH8UtFBE8xW0PdG771HpUxi7ypecwqXbjery9cHjoRv+ofoo/ilpLZRY89Y5IlMt7YQDCY8YuZTiukIV1F17KfOUMum+6gd22/q8vXB46NuN6vL1weOvncOxm1XPnLLGpkzUxWJohEjR2aeJogpbyTnGW4C8DH51wJGm2FZJls2ejm0qrJFBKSpaSzIt8eO4+egbNknhzd/poL7bjery9cHjo243q8vXB46ZxjlFUmzHJW2rC9mUm+Ro1xIQGjGcQmUEkaVALcuigstuN6vL1weOjbjery9cHjr53FsZtmcd7TDtgSSvJLEjxYZJpbJCiugZh5CTCdBfcRjVrvSHtj2xy1w2yB5TnUJU2h2dTdaYbKIBaUBN5Ehd1bRffGhu0mg223G9Xl64PHRtxvV5euDx0xjHKK7jHKKBbbbery9cHjo22/q8vXB46zuXtjQmyhFKIUZTZ5xLKSuic7W2uTeb9Gae64XDTzjfl//AEraTHZcVlJzUMEMqE2aQsYbLaonNzOAymWWIAk+jFoABoPpW3G9Xl64PHRtxvV5euDx1NEwwjgGgaL77vyvr3jHKKBbbjery9cHjo22/q8vXB46yez3Y5NaZFay6C9knsssiuEZL83PAwvIv32HBo9ExqqtOxm0GYytZsRlsV7qu12CWyV7TK6B2cFcBmj8pb8QQLwUH0Hbjery9cHjo243q8vXB46zmwTJMsAkzq5lGis6LAWVrpo4gs81ykhcTYRoOnNk+nTrMY5RQLbcb1eXrg8dG239Xl64PHXu1QJIhjkCurC5kPAw5DyivmE2wu07TjWODNynJ1viluaC9rRNm1gQnHdeVQjEOD0kUH0zbjery9cHjo243q8vXB46yWxzIU0dsxPFgRbRaZw+KMqUnWEIoAN+IYXBF1wwfmL9tjHKKBbbjery9cHjo22/q8vXB46YxjlFfPdkWxSeaXKEixK2cezmAERFnwizrI6uXGFQElBQ3Yr7+Sg3W3G9Xl64PHRtxvV5euDx1kth+RZ4bYzzxYFFmkhxhozGzm1TyjNqGJSMxyIVU+aLlvJWtrjHKKBfbjery9cHjo243q8vXB46ZxjlFZjZ3k2SeFBAhkdHMixnNtDI2BkzVoVmXyGDsMS6UNzeigvttt6vL1weOjbjery9cHjr59lLY5aZXtDtZseeezWlAXibMyJaFE0VzPdi2qkIJGgiMjhYg/RbNCkaLGgCqihFUcCqouAH+1AvZZS08l6Mm9x6GwG/TLzWNFSRH/qH6KP4paKCM2ZGtD40Rroo/OUNd5UvLU250Wpj7C/KvMf3h+ij+KWmqBfc6LUx9hflRudFqY+wvypiigrrZk+O+Peo+NH4F5G/KmdzotTH2F+Vebbwx9KPc1NUC+50Wpj7C/Kjc6LUx9hflTFFAq+TorjvMXBzF+VQ2DJ8eZj3qPi1/AvIPyp5+A+yocn8TH0a+4UBudFqY+wvyo3Oi1MfYX5UxRQL7nRamPsL8qVsmT48cu9R8aPwLq4vyqypSx+fN0o/xxUHvc6LUx9hflRudFqY+wvypiigX3Oi1MfYX5UtJk+PPoM1H5j/AIF5Y/yqxpWXj4/4P746D1udFqY+wvyo3Oi1MfYX5UxRQL7nRamPsL8qWyjk+MQvvUfBzF+VWNK5T4l/ZQLSmBbQlnMK45EaRd6GHCmENe911/lDRw03udFqY+wvypa15NdrXDOsiKsSupjKMzPnMN5DhgFuwj8J9NWNAvudFqY+wvyrm50Wpj7C/KmaKCpgssawu+11kIkluREjLNdI9yi+4dZAr3kzMzxCRYFXynQo6IGSSNmjdDdeLwysLwSDdoJFdzLvZpEhlEMjPKFlK5zAxkfysN4vu9tS5GsBhgWIlDhvF8augN5JvON3JY33lixJJJ9NBLudFqY+wvyo3Oi1MfYX5UxRQJWaBVncIqrvUfmgLfpl5KK9x/eH6KP4paKAj+8P0UfxS01Ve9mDWhyS4uiTzXkT8UvoUi+oMmzQzhs29ovRgrJI1rhdSQGF6SEG4ggg3XUFvRSu5y86XvZ/FRucvOl72fxUBbeGPpR7mpqqy2ZPW+PypeNA42fkb9Vcvhz+1s7Jnc0Zs3nbReIwQuI+Vo0kDTw6eQ0FpRSu5y86XvZ/FRucvOl72fxUDD8B9lQ5P4mPo19wrw+TluPlS8Gtn8VVrSwwwQmRrR5YVFWM2yZmbAXICR4j5qseD0UF7RSi5PUi/FN/vLOP+MVd3OXnS97P4qBqlLH583Sj/HFXdzl50vez+KkM1HGJ5JJJFRJLyxln0DNxcjaT/wA0FzRSFmsySIHU2gAi8B3tUTf7o5BH+4qXc5edL3s/ioGqVl4+P+D++Ojc5edL3s/ipaTJ655Bil8x/wDVn5Y/1UFnRVPHaIWtG18VqElzMA+3UVlQqGZZGuVgC68BPnCntzl50vez+KgapXKfEv7KNzl50vez+Klso5PUQucUvBrZ/FQWdFU9qtMEcqxPLMHbDoD2pgucYpHjcG5MTgquIi8i4U9ucvOl72fxUDVcpbc5edL3s/io3OXnS97P4qAyd5h6WX/I9NVTJHFFA8skkqqskhLZ2c6BI40ANeSdAuGkk1PYFimjzkbzFbyumS0oyspKsrKzAqQQRcRQWVFK7nLzpe9n8VG5y86XvZ/FQEf3h+ij+KWio7LAFnkALHe4/OZ39MvOJurtB6Xj5LuHNJdfy3y0lkDJskbTySiNDNKJc1E7zKpwqrNnHVSSSOC64AC7009H94foo/ilpqgKKKKBW28MfSj3NVbZ9jWC37aWWQqyTY43IN8kpgII8m/CFhu0nRhQDQKsrbwx9KPc1NUBRRRQeX4D7KoMsZJe0WKJI0jZwgKSSSSwmBzGUEyNGpJYYjovF950ir9+A+yocn8TH0a+4UEsSkKATiIABY6MRHpr3RRQFUeVcmG0Q2iJSt+fjkAYsqsYhZ5QjFdIDYMJI0gG/TV5Slj8+bpR/jioIcgWB4bOI5CCcbsFVmdY0d2dIVZgCyopCgkDzeADQLGiigKVl4+P+D++OmqVl4+P+D++OghsuTmFpltEhUllWKIC/e4VGI33/iaRmJu9Cx8lWFFFAUrlPiX9lNUrlPiX9lBTZY2OSS22O0KUAXM3MWdWjzUrSSDNgXTB1KqMZGAriGmtHRRQFFFFBVS2ITWWWIqHxPLcpZovLEjlTnFBKEMAcQBIuvr1seyU0EJV2xO8rzOcTP5TknDiYAtcMIvuF919w4Azk7zD0sv+R6aoCiiigVj+8P0UfxS0UR/eH6KP4paKCJoS1oe6R03qPQojN/lS85TUu1G18vVD4KE49+ij+KWsFbYGay3CK1OBugIQ8dqZ1tkkoexS+WMQOAvhkOhb+EGg3u1G18vVD4KNqNr5eqHwUyvBprtBWWyytfHv8vGj0Q8jfopnaja+Xqh8FFt4Y+lHuaqdyBb7ViFpwtYogWUWrDiUzYhEyi4NhePRGcRJ5RQXG1G18vVD4KNqNr5eqHwUpsVJ3PswYOrCzRqyyK6OHVQrBlYAg3g8NWtAo9ka47/LwckPgqGwWVszHv8ALxa+iHkH6KffgPsrPZe+4QECYkTWV7oRM5uWSJnLLECSuAOSCLtHsoLnaja+Xqh8FG1G18vVD4KpMlopynM6QyQ4Y2jYmKZBanLIzTNIVwsFuCppJ8qT8N1+loFdqNr5eqHwUrZLK2Obf5eNHoh1cX6KtKrZLsFpxY7sRvzecx3ZqPzc35V/8dNAxtRtfL1Q+Cjaja+Xqh8FZGzw4hkwiGXPpHCJC0FoSQRqjKwM7ACNVbGWQ6X8kaL1v3FArtRtfL1Q+ClpLK2fTf5fMf0Q8sf6Ks6Vl4+P+D++OgNqNr5eqHwUbUbXy9UPgrP2mKZrZa0s+cUvHZ/LlNpjjuUy55YZSrBWwsnmaAWvuvvqz2IxOuTrMsqlHWzorIS5KkKBccQBvuuvvHDfw8NA7tRtfL1Q+Clso2Vsy+/y8HJD4Ks6VynxL+ygNqNr5eqHwUbUbXy9UPgqpyyP+vg4+42edGZFndFxBMN4UFQ2hrr9Po9NR7BYM3Z3jCAIkgRJhDJZWtCiOO+V45NOLFiUn04KC62o2vl6ofBRtRtfL1Q+CmqKCssFlbAd/l42T0Q6x/0UztRtfL1Q+CoobsxJixXY5r8GPFdjkvw4PKvu4MOnk01jbAJg1gYxO+CyWSNY54J2Ky42jtjlzdmZEQI2JxewW4X3m8NvtRtfL1Q+Cjaja+Xqh8FNUUCNliKzyXuz73HpbALtMvNArte4/vD9FH8UtFAR/eH6KP4paapBse2HwYOKjvxYudLyVLv37X96Bqild+/a/vRv37X96AtvDH0o9zU1VbbM7fHxXGjn8jUxv37X96Bqild+/a/vRv37X96Bh+A+yocn8TH0a+4V4fO3HiuD9dQ2DO5mPiuLXn8goLGild+/a/vRv37X96BqlLH583Sj/HFXd+/a/vS1kzuObiuNHP1cVBZ0Urvv7X96N+/a/vQNUrLx8f8AB/fHRv37X96XlzufTivMfn8sdBZUUrv37X96N+/a/vQNUrlPiX9lG/ftf3pfKOdzL8VwfroLKild+/a/vRv37X96Bqild+/a/vRv37X96Ayf5h6WX/I9NVWZPzuA8VxsnP1j0zvv7X96Bqild+/a/vRv37X96Aj+8P0UfxS0VHZcWfkx4eKjuw38svLXaD2nHv0UfxS1lpbbJJY2C2yQzm3TWWF4jEuJzI6pjUKb1jjUuRw4YzWpj+8P0UfxS1LFZEXzY0XTi8lVGm66/R6btFB7QXAC8m4XXm68/mbq9UUUCtt4Y+lHuas3l/K8iS2tEtAF0FkMaEoubaaaSJ/KuJQMAgLkHBeGuN1x0lt4Y+lHuapGsaEsTGhLLhYlVJZToKk+kXAaPyoK3Ypa2ksitIzMwkljJYqxGblkQJjGh8IULi/Fhv8ATVxXmOMKoVQFAFwVQAABwAAcAr1QeX4D7KosrWxorHZ3WbNb/ZUYnB5cbyRI8flcF6s3Bp0VevwH2UrZbOrwRh0Vxm1NzAML8N19x9poKLI1un3RkhlZ2GCaRhigeNFEqLZcAQ4o74i4IcC9ozdfcTWpqOOBVLFVVSxxMVABZuC83cJqSgKqLbaESK0vLM0CBwWlQgMowQ6F0HSeAAC8k6NN1W9JWeIM0ysoYGUXqwBB3uLhBoMfZMrziWIPaWLA2YLBihfOx2iedJBIUG+OkKLeVNwaFjwE372oEsUYKlY4wUvCkKowBvOC6NF/puqegKVl4+P+D++OmqVl4+P+D++OgzNuykwktpgtrYYrNIWLtC4jtS3FViUjQEW9WvvF7qNLK12oyfNjhje8NijVsQuN5IGnRQbBHexzUd7C5jhW9hw3E3adIHVU0cYUBVAUDQFAAAHIAKD1SuU+Jf2U1SuU+Jf2UFRlu2XW2COO0sj3h5IS0YjFm8oM7qwvLMblW433reNCvXvYjazJHK4naeIzbw8jI7mLAl7EqB5LOJGW/ThYcAIAuJLIjMGaNGYcDMqkj06CeCuwWVEvCIiXm8hFC3nlN1BLRRRQVjzKllleSUwopmLTAgGNQ8l7gkG672Vm0yhIIrLIbW+I2tUzbSQs+1pZykayRBd8coVQ6QU0t5RU4tZYkBjYMAQZZQQdIIzj6CK9pk+JSpWKMFb8JCqCuLhwm7Rf+VAxRRRQKx/eH6KP4paKI/vD9FH8UtFBE0rC0PhjL71HpvUXeVLy1Ltl9Se0leWYCWQsbgIUJOkXC+a81hJbfM1ikksUkkkJnzoAtDPPCiiERxMzksodhJIy33gMF0XtcG92xJqD2ko2xJqD2kpkV2grbZaHvj3k8aPxJyNTG2X1J7SUW3hj6Ue5qymW7Sj2u0Rx202ZkszJK0k8qrnHERQpFjGBUQEl0w8Zwk47g1e2H1J7SUbYk1B7SUnsVtOOyI1x8+RQxklnEgV3USrJISzIwAYXngYXXi41bUCj2h7jvJ4OclQ2C0PmY95PFr+JOQU+/AfZWW2U2pFsESGVoZJFCQyiWSzrHKU46RlIBVBe2Fr7yAACSKDQ7Yk1J7SUbYk1B7SVnNjmUXa3zLI2cLGYkB5f+njilVYFaInCokiZXVgAThY+VebtbQK7Yk1B7SUtZLQ+ObeTxo/Emriqzqkynao44LU85cRhxizbPG58iEBVZSCCSQOEDTpIF9BY7ZfUntJRtiTUHtJWXyVAZGsaraJZGVTPLLFaJ5IhCjMI7OSGwynGwTEwJZYHv03VsqBXbEmoPaSl5LQ+fTeT5j/iTljqypWXj4/4P746A2y+pPaSjbEmpPaSsTlnKKma0Zi0sgWSOKVJJ5rjJn487IVxXwQKt8ZZbgc4dFygnVbFJmawws5ctg0s5LFriQGDHS6kAFWOkrcTpJoHNsSag9pKXyjaHzL7yeDnJVlSuU+Jf2UBth9Se0lG2H1J7SVQ7IrSu3YIY7QYJyMeJpXWPNnGqpmS2GV3fRdcSApN4IW/mwSWRklxPnIwyKkmee1q8gRc80czgYlLXcGgHFwG8AL/AGxJqD2ko2xJqD2kpqigrMn2h8B3k8bJ+JNY9M7ZfUntJS+NBZpDK5RMcuNwzR4Vzj3tjUgr7QRdWIsVukvjBnlJEsYsuGWZ0nvtjraMBJ3+MQZsXvfcl5Fw00G/2xJqD2ko2xJqD2kpqigRssjGeTEmDeo9F4N+mXkrte4/vD9FH8UtFAR/eH6KP4paapB7SFtD3hzfFH5qSP8Ail9Kg1LuivNl7qfw0DVFK7orzZe6n8NG6K82Xup/DQFt4Y+lHuamqrLZlBb4/Jl40Hip+Rv00zuivNl7qfw0DVFK7orzZe6n8NG6K82Xup/DQMPwH2VDk/iY+jX3CvD5RW4+TLwaqfw1DYMoLmY/Jl4tf9KfkH6aCxopXdFebL3U/ho3RXmy91P4aBqlLH583Sj/ABxV3dFebL3U/hpWyZQXHL5MvGj/AEp9XF+mgtKKV3RXmy91P4aN0V5svdT+GgapWXj4/wCD++OjdFebL3U/hpaTKC59Dhl8x/8ASn5Y/wBNBZ0UruivNl7qfw0borzZe6n8NA1SuU+Jf2UborzZe6n8NLZRygphcYZeDVT+Ggs6KV3RXmy91P4aN0V5svdT+GgaopXdFebL3U/ho3RXmy91P4aAyf5h6WX/ACPTVVtitoVSCso3yQ8VNwM7EHzeQimN0V5svdT+GgaopXdFebL3U/ho3RXmy91P4aAj+8P0UfxS0VHZZw08hAYb3H5yunpl5wF9doPace/RR++Ws2mVLQglRpsTRZQs0V80ceNrPO8KMRmiFAYu5U3EgC4i/SNIovncHSM0guPp0y0uuxuyiPNCyWfN487m82mHOAXB7rvOAAAPoAHJQWIrtFFArbeGPpR7mpqlbbwx9KPc1NUBRRRQeX4D7KhyfxMfRr7hUz8B9lQ5P4mPo19woGKKKKApSx+fN0o/xxU3Slj8+bpR/jioG6KKKApWXj4/4P746apWXj4/4P746BqiiigKVynxL+ymqVynxL+ygaoqqyjbLQryCOHEqwl0IXEWkANy3Y1v03DDovvvxClLLb7aSMdniUZ3Cbr783jhGIeVzHmOnV8A4CGgorPPly2AkDJZIBcBs/HpCC8NddwPwL+fDcNNRTZatocFbBemZDmMkFhKTpjx4gDcLuBeXhoNNRWbbLNtJI2jm1uUh8SzkG/SMAZMRuI9IAuJvPBXVy5bMRG5puvOEmVV0KwAv0HhGn/jTw0GjorO2fLdsJIbJ5QXMQ2NTdcGwrd+I4govvA0k8FxMliyra2mVZLEEjbCMQkDFD5RZjo0i7ALtGkNpN4oLSP7w/RR/FLRRH94foo/ilooIzaUW0PjdVvijuxELf5UvLU26MWuj7a/OpytcwDkFBDujFro+2vzo3Ri10fbX51NgHIKMA5BQIWy3x3x77HxoPnryN+dM7oxa6Ptr86nwDkFcwDkFBDujFro+2vzo3Ri10fbX51NgHIKMA5BQLvlCK477Hwc9fnUNgyhHmY99j4tfxLyD86ewDkFGAcgoId0YtdH21+dG6MWuj7a/OpsA5BRgHIKCHdGLXR9tfnStkt8eOXfY+NH4l1cX51YYByCu4ByCgg3Ri10fbX50boxa6Ptr86mwDkFGAcgoId0YtdH21+dLSW+PPoc7H5j/jXlT86fwDkFdwDkFBBujFro+2vzo3Ri10fbX51NgHIKMA5BQQ7oxa6Ptr86Wyjb4zC4EsfBz1+dP4ByCu4ByCgg3Ri1sfbX50boxa6Ptr86mwDkFGAcgoId0YtdH21+dG6MWtj7a/OpsA5BRgHIKCHdGLXR9tfnRujFrY+2vzqbAOQUYByCgh3Ri1sfbX50boxa6Ptr86mwDkFGAcgoFLNOrTuVZW3uPzSGu0y8lFOAUUH/2Q=="/>
          <p:cNvSpPr>
            <a:spLocks noChangeAspect="1" noChangeArrowheads="1"/>
          </p:cNvSpPr>
          <p:nvPr/>
        </p:nvSpPr>
        <p:spPr bwMode="auto">
          <a:xfrm>
            <a:off x="79375" y="-727075"/>
            <a:ext cx="1828800" cy="1504950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" name="Rectangle 7"/>
          <p:cNvSpPr>
            <a:spLocks noChangeArrowheads="1"/>
          </p:cNvSpPr>
          <p:nvPr/>
        </p:nvSpPr>
        <p:spPr bwMode="gray">
          <a:xfrm>
            <a:off x="152400" y="1219200"/>
            <a:ext cx="8915400" cy="495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9" tIns="36571" rIns="36571" bIns="36571"/>
          <a:lstStyle/>
          <a:p>
            <a:pPr marL="458788" lvl="1" indent="-457200" algn="just" defTabSz="1019175" eaLnBrk="0" hangingPunct="0">
              <a:buClr>
                <a:schemeClr val="folHlink"/>
              </a:buClr>
              <a:buSzPct val="125000"/>
              <a:buFont typeface="+mj-lt"/>
              <a:buAutoNum type="arabicPeriod"/>
            </a:pPr>
            <a:endParaRPr lang="en-US" sz="2400" b="1" dirty="0" smtClean="0">
              <a:solidFill>
                <a:schemeClr val="bg2"/>
              </a:solidFill>
            </a:endParaRPr>
          </a:p>
          <a:p>
            <a:pPr marL="1373188" lvl="3" indent="-457200" algn="just" defTabSz="1019175" eaLnBrk="0" hangingPunct="0">
              <a:buClr>
                <a:schemeClr val="folHlink"/>
              </a:buClr>
              <a:buSzPct val="125000"/>
              <a:buFont typeface="+mj-lt"/>
              <a:buAutoNum type="arabicPeriod"/>
            </a:pPr>
            <a:r>
              <a:rPr lang="en-US" sz="2400" b="1" dirty="0" smtClean="0">
                <a:solidFill>
                  <a:schemeClr val="accent1"/>
                </a:solidFill>
                <a:sym typeface="Wingdings" pitchFamily="2" charset="2"/>
              </a:rPr>
              <a:t>The </a:t>
            </a:r>
            <a:r>
              <a:rPr lang="en-US" sz="2400" b="1" i="1" dirty="0" smtClean="0">
                <a:solidFill>
                  <a:schemeClr val="bg2"/>
                </a:solidFill>
                <a:sym typeface="Wingdings" pitchFamily="2" charset="2"/>
              </a:rPr>
              <a:t>BACKGROUND </a:t>
            </a:r>
            <a:r>
              <a:rPr lang="en-US" sz="2400" b="1" dirty="0" smtClean="0">
                <a:solidFill>
                  <a:schemeClr val="accent1"/>
                </a:solidFill>
                <a:sym typeface="Wingdings" pitchFamily="2" charset="2"/>
              </a:rPr>
              <a:t>story</a:t>
            </a:r>
          </a:p>
          <a:p>
            <a:pPr marL="1373188" lvl="3" indent="-457200" algn="just" defTabSz="1019175" eaLnBrk="0" hangingPunct="0">
              <a:buClr>
                <a:schemeClr val="folHlink"/>
              </a:buClr>
              <a:buSzPct val="125000"/>
              <a:buFont typeface="+mj-lt"/>
              <a:buAutoNum type="arabicPeriod"/>
            </a:pPr>
            <a:endParaRPr lang="en-US" sz="2400" b="1" dirty="0" smtClean="0">
              <a:solidFill>
                <a:schemeClr val="accent1"/>
              </a:solidFill>
              <a:sym typeface="Wingdings" pitchFamily="2" charset="2"/>
            </a:endParaRPr>
          </a:p>
          <a:p>
            <a:pPr marL="1373188" lvl="3" indent="-457200" algn="just" defTabSz="1019175" eaLnBrk="0" hangingPunct="0">
              <a:buClr>
                <a:schemeClr val="folHlink"/>
              </a:buClr>
              <a:buSzPct val="125000"/>
              <a:buFont typeface="+mj-lt"/>
              <a:buAutoNum type="arabicPeriod"/>
            </a:pPr>
            <a:r>
              <a:rPr lang="en-US" sz="2400" b="1" dirty="0" smtClean="0">
                <a:solidFill>
                  <a:schemeClr val="accent1"/>
                </a:solidFill>
                <a:sym typeface="Wingdings" pitchFamily="2" charset="2"/>
              </a:rPr>
              <a:t>The situation from </a:t>
            </a:r>
            <a:r>
              <a:rPr lang="en-US" sz="2400" b="1" i="1" dirty="0" smtClean="0">
                <a:solidFill>
                  <a:schemeClr val="bg2"/>
                </a:solidFill>
                <a:sym typeface="Wingdings" pitchFamily="2" charset="2"/>
              </a:rPr>
              <a:t>CFO DIVISION’S </a:t>
            </a:r>
            <a:r>
              <a:rPr lang="en-US" sz="2400" b="1" dirty="0" smtClean="0">
                <a:solidFill>
                  <a:schemeClr val="accent1"/>
                </a:solidFill>
                <a:sym typeface="Wingdings" pitchFamily="2" charset="2"/>
              </a:rPr>
              <a:t>perspective as well as the </a:t>
            </a:r>
            <a:r>
              <a:rPr lang="en-US" sz="2400" b="1" i="1" dirty="0" smtClean="0">
                <a:solidFill>
                  <a:schemeClr val="bg2"/>
                </a:solidFill>
                <a:sym typeface="Wingdings" pitchFamily="2" charset="2"/>
              </a:rPr>
              <a:t>CUSTOMER’S </a:t>
            </a:r>
            <a:r>
              <a:rPr lang="en-US" sz="2400" b="1" dirty="0" smtClean="0">
                <a:solidFill>
                  <a:schemeClr val="accent1"/>
                </a:solidFill>
                <a:sym typeface="Wingdings" pitchFamily="2" charset="2"/>
              </a:rPr>
              <a:t>perspective</a:t>
            </a:r>
          </a:p>
          <a:p>
            <a:pPr marL="1373188" lvl="3" indent="-457200" algn="just" defTabSz="1019175" eaLnBrk="0" hangingPunct="0">
              <a:buClr>
                <a:schemeClr val="folHlink"/>
              </a:buClr>
              <a:buSzPct val="125000"/>
              <a:buFont typeface="+mj-lt"/>
              <a:buAutoNum type="arabicPeriod"/>
            </a:pPr>
            <a:endParaRPr lang="en-US" sz="2400" b="1" dirty="0" smtClean="0">
              <a:solidFill>
                <a:schemeClr val="accent1"/>
              </a:solidFill>
              <a:sym typeface="Wingdings" pitchFamily="2" charset="2"/>
            </a:endParaRPr>
          </a:p>
          <a:p>
            <a:pPr marL="1373188" lvl="3" indent="-457200" algn="just" defTabSz="1019175" eaLnBrk="0" hangingPunct="0">
              <a:buClr>
                <a:schemeClr val="folHlink"/>
              </a:buClr>
              <a:buSzPct val="125000"/>
              <a:buFont typeface="+mj-lt"/>
              <a:buAutoNum type="arabicPeriod"/>
            </a:pPr>
            <a:r>
              <a:rPr lang="en-US" sz="2400" b="1" dirty="0" smtClean="0">
                <a:solidFill>
                  <a:schemeClr val="accent1"/>
                </a:solidFill>
                <a:sym typeface="Wingdings" pitchFamily="2" charset="2"/>
              </a:rPr>
              <a:t>Two layers of learning:</a:t>
            </a:r>
          </a:p>
          <a:p>
            <a:pPr marL="1830388" lvl="4" indent="-457200" algn="just" defTabSz="1019175" eaLnBrk="0" hangingPunct="0">
              <a:buClr>
                <a:schemeClr val="folHlink"/>
              </a:buClr>
              <a:buSzPct val="125000"/>
            </a:pPr>
            <a:r>
              <a:rPr lang="en-US" sz="2400" b="1" dirty="0" smtClean="0">
                <a:solidFill>
                  <a:schemeClr val="bg2"/>
                </a:solidFill>
                <a:sym typeface="Wingdings" pitchFamily="2" charset="2"/>
              </a:rPr>
              <a:t>	a. </a:t>
            </a:r>
            <a:r>
              <a:rPr lang="en-US" sz="2400" b="1" i="1" dirty="0" smtClean="0">
                <a:solidFill>
                  <a:schemeClr val="bg2"/>
                </a:solidFill>
                <a:sym typeface="Wingdings" pitchFamily="2" charset="2"/>
              </a:rPr>
              <a:t>GENERAL </a:t>
            </a:r>
            <a:r>
              <a:rPr lang="en-US" sz="2400" b="1" dirty="0" smtClean="0">
                <a:solidFill>
                  <a:schemeClr val="accent1"/>
                </a:solidFill>
                <a:sym typeface="Wingdings" pitchFamily="2" charset="2"/>
              </a:rPr>
              <a:t>lesson</a:t>
            </a:r>
          </a:p>
          <a:p>
            <a:pPr marL="1830388" lvl="4" indent="-457200" algn="just" defTabSz="1019175" eaLnBrk="0" hangingPunct="0">
              <a:buClr>
                <a:schemeClr val="folHlink"/>
              </a:buClr>
              <a:buSzPct val="125000"/>
            </a:pPr>
            <a:r>
              <a:rPr lang="en-US" sz="2400" b="1" dirty="0" smtClean="0">
                <a:solidFill>
                  <a:schemeClr val="bg2"/>
                </a:solidFill>
                <a:sym typeface="Wingdings" pitchFamily="2" charset="2"/>
              </a:rPr>
              <a:t>	b. </a:t>
            </a:r>
            <a:r>
              <a:rPr lang="en-US" sz="2400" b="1" i="1" dirty="0" smtClean="0">
                <a:solidFill>
                  <a:schemeClr val="bg2"/>
                </a:solidFill>
                <a:sym typeface="Wingdings" pitchFamily="2" charset="2"/>
              </a:rPr>
              <a:t>TECHNICAL </a:t>
            </a:r>
            <a:r>
              <a:rPr lang="en-US" sz="2400" b="1" dirty="0" smtClean="0">
                <a:solidFill>
                  <a:schemeClr val="accent1"/>
                </a:solidFill>
                <a:sym typeface="Wingdings" pitchFamily="2" charset="2"/>
              </a:rPr>
              <a:t>lesson</a:t>
            </a:r>
          </a:p>
          <a:p>
            <a:pPr marL="1373188" lvl="3" indent="-457200" algn="just" defTabSz="1019175" eaLnBrk="0" hangingPunct="0">
              <a:buClr>
                <a:schemeClr val="folHlink"/>
              </a:buClr>
              <a:buSzPct val="125000"/>
              <a:buFont typeface="+mj-lt"/>
              <a:buAutoNum type="arabicPeriod"/>
            </a:pPr>
            <a:endParaRPr lang="en-US" sz="2400" b="1" dirty="0" smtClean="0">
              <a:solidFill>
                <a:schemeClr val="accent1"/>
              </a:solidFill>
              <a:sym typeface="Wingdings" pitchFamily="2" charset="2"/>
            </a:endParaRPr>
          </a:p>
          <a:p>
            <a:pPr marL="1373188" lvl="3" indent="-457200" algn="just" defTabSz="1019175" eaLnBrk="0" hangingPunct="0">
              <a:buClr>
                <a:schemeClr val="folHlink"/>
              </a:buClr>
              <a:buSzPct val="125000"/>
              <a:buFont typeface="+mj-lt"/>
              <a:buAutoNum type="arabicPeriod"/>
            </a:pPr>
            <a:r>
              <a:rPr lang="en-US" sz="2400" b="1" dirty="0" smtClean="0">
                <a:solidFill>
                  <a:schemeClr val="accent1"/>
                </a:solidFill>
                <a:sym typeface="Wingdings" pitchFamily="2" charset="2"/>
              </a:rPr>
              <a:t>How might this case relate to </a:t>
            </a:r>
            <a:r>
              <a:rPr lang="en-US" sz="2400" b="1" i="1" dirty="0" smtClean="0">
                <a:solidFill>
                  <a:schemeClr val="bg2"/>
                </a:solidFill>
                <a:sym typeface="Wingdings" pitchFamily="2" charset="2"/>
              </a:rPr>
              <a:t>YOUR </a:t>
            </a:r>
            <a:r>
              <a:rPr lang="en-US" sz="2400" b="1" dirty="0" smtClean="0">
                <a:solidFill>
                  <a:schemeClr val="accent1"/>
                </a:solidFill>
                <a:sym typeface="Wingdings" pitchFamily="2" charset="2"/>
              </a:rPr>
              <a:t>area?</a:t>
            </a:r>
          </a:p>
          <a:p>
            <a:pPr marL="1373188" lvl="3" indent="-457200" algn="just" defTabSz="1019175" eaLnBrk="0" hangingPunct="0">
              <a:buClr>
                <a:schemeClr val="folHlink"/>
              </a:buClr>
              <a:buSzPct val="125000"/>
              <a:buFont typeface="+mj-lt"/>
              <a:buAutoNum type="arabicPeriod"/>
            </a:pPr>
            <a:endParaRPr lang="en-US" sz="2400" b="1" dirty="0" smtClean="0">
              <a:solidFill>
                <a:schemeClr val="accent1"/>
              </a:solidFill>
              <a:sym typeface="Wingdings" pitchFamily="2" charset="2"/>
            </a:endParaRPr>
          </a:p>
          <a:p>
            <a:pPr marL="1373188" lvl="3" indent="-457200" algn="just" defTabSz="1019175" eaLnBrk="0" hangingPunct="0">
              <a:buClr>
                <a:schemeClr val="folHlink"/>
              </a:buClr>
              <a:buSzPct val="125000"/>
              <a:buFont typeface="+mj-lt"/>
              <a:buAutoNum type="arabicPeriod"/>
            </a:pPr>
            <a:r>
              <a:rPr lang="en-US" sz="2400" b="1" dirty="0" smtClean="0">
                <a:solidFill>
                  <a:schemeClr val="accent1"/>
                </a:solidFill>
                <a:sym typeface="Wingdings" pitchFamily="2" charset="2"/>
              </a:rPr>
              <a:t>As a leader, what can </a:t>
            </a:r>
            <a:r>
              <a:rPr lang="en-US" sz="2400" b="1" i="1" dirty="0" smtClean="0">
                <a:solidFill>
                  <a:schemeClr val="bg2"/>
                </a:solidFill>
                <a:sym typeface="Wingdings" pitchFamily="2" charset="2"/>
              </a:rPr>
              <a:t>YOU</a:t>
            </a:r>
            <a:r>
              <a:rPr lang="en-US" sz="2400" b="1" dirty="0" smtClean="0">
                <a:solidFill>
                  <a:schemeClr val="accent1"/>
                </a:solidFill>
                <a:sym typeface="Wingdings" pitchFamily="2" charset="2"/>
              </a:rPr>
              <a:t> do?</a:t>
            </a:r>
          </a:p>
          <a:p>
            <a:pPr marL="1373188" lvl="3" indent="-457200" algn="just" defTabSz="1019175" eaLnBrk="0" hangingPunct="0">
              <a:buClr>
                <a:schemeClr val="folHlink"/>
              </a:buClr>
              <a:buSzPct val="125000"/>
              <a:buFont typeface="+mj-lt"/>
              <a:buAutoNum type="arabicPeriod"/>
            </a:pPr>
            <a:endParaRPr lang="en-US" sz="2400" b="1" dirty="0" smtClean="0">
              <a:solidFill>
                <a:schemeClr val="accent1"/>
              </a:solidFill>
              <a:sym typeface="Wingdings" pitchFamily="2" charset="2"/>
            </a:endParaRPr>
          </a:p>
          <a:p>
            <a:pPr marL="1830388" lvl="4" indent="-457200" algn="just" defTabSz="1019175" eaLnBrk="0" hangingPunct="0">
              <a:buClr>
                <a:schemeClr val="folHlink"/>
              </a:buClr>
              <a:buSzPct val="125000"/>
            </a:pPr>
            <a:endParaRPr lang="en-US" sz="2400" b="1" dirty="0" smtClean="0">
              <a:solidFill>
                <a:schemeClr val="accent1"/>
              </a:solidFill>
              <a:sym typeface="Wingdings" pitchFamily="2" charset="2"/>
            </a:endParaRPr>
          </a:p>
          <a:p>
            <a:pPr marL="1830388" lvl="4" indent="-457200" algn="just" defTabSz="1019175" eaLnBrk="0" hangingPunct="0">
              <a:buClr>
                <a:schemeClr val="folHlink"/>
              </a:buClr>
              <a:buSzPct val="125000"/>
            </a:pPr>
            <a:endParaRPr lang="en-US" sz="2400" b="1" dirty="0" smtClean="0">
              <a:solidFill>
                <a:schemeClr val="accent1"/>
              </a:solidFill>
              <a:sym typeface="Wingdings" pitchFamily="2" charset="2"/>
            </a:endParaRPr>
          </a:p>
          <a:p>
            <a:pPr marL="1830388" lvl="4" indent="-457200" algn="just" defTabSz="1019175" eaLnBrk="0" hangingPunct="0">
              <a:buClr>
                <a:schemeClr val="folHlink"/>
              </a:buClr>
              <a:buSzPct val="125000"/>
            </a:pPr>
            <a:endParaRPr lang="en-US" sz="2400" b="1" dirty="0" smtClean="0">
              <a:solidFill>
                <a:schemeClr val="accent1"/>
              </a:solidFill>
              <a:sym typeface="Wingdings" pitchFamily="2" charset="2"/>
            </a:endParaRPr>
          </a:p>
          <a:p>
            <a:pPr marL="1830388" lvl="4" indent="-457200" algn="just" defTabSz="1019175" eaLnBrk="0" hangingPunct="0">
              <a:buClr>
                <a:schemeClr val="folHlink"/>
              </a:buClr>
              <a:buSzPct val="125000"/>
            </a:pPr>
            <a:endParaRPr lang="en-US" sz="2400" b="1" dirty="0" smtClean="0">
              <a:solidFill>
                <a:schemeClr val="accent1"/>
              </a:solidFill>
              <a:sym typeface="Wingdings" pitchFamily="2" charset="2"/>
            </a:endParaRPr>
          </a:p>
        </p:txBody>
      </p:sp>
      <p:sp>
        <p:nvSpPr>
          <p:cNvPr id="9" name="Rectangle 2"/>
          <p:cNvSpPr txBox="1">
            <a:spLocks noChangeArrowheads="1"/>
          </p:cNvSpPr>
          <p:nvPr/>
        </p:nvSpPr>
        <p:spPr bwMode="auto">
          <a:xfrm>
            <a:off x="1905000" y="6705600"/>
            <a:ext cx="7239000" cy="381000"/>
          </a:xfrm>
          <a:prstGeom prst="rect">
            <a:avLst/>
          </a:prstGeom>
          <a:solidFill>
            <a:srgbClr val="F6EB0A"/>
          </a:solidFill>
          <a:ln w="25400">
            <a:solidFill>
              <a:srgbClr val="FFCC00"/>
            </a:solidFill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marL="0" lvl="1" defTabSz="1019175" eaLnBrk="0" hangingPunct="0">
              <a:lnSpc>
                <a:spcPts val="2788"/>
              </a:lnSpc>
            </a:pPr>
            <a:r>
              <a:rPr lang="en-US" sz="2200" b="1" kern="0" dirty="0" smtClean="0">
                <a:ea typeface="LF_Kai" pitchFamily="2" charset="-122"/>
              </a:rPr>
              <a:t>“Right answer” less important than </a:t>
            </a:r>
            <a:r>
              <a:rPr lang="en-US" sz="2200" b="1" i="1" kern="0" dirty="0" smtClean="0">
                <a:solidFill>
                  <a:schemeClr val="bg2"/>
                </a:solidFill>
                <a:ea typeface="LF_Kai" pitchFamily="2" charset="-122"/>
              </a:rPr>
              <a:t>thought process</a:t>
            </a:r>
            <a:r>
              <a:rPr lang="en-US" sz="2200" b="1" kern="0" dirty="0" smtClean="0">
                <a:ea typeface="LF_Kai" pitchFamily="2" charset="-122"/>
              </a:rPr>
              <a:t>… </a:t>
            </a:r>
            <a:endParaRPr kumimoji="0" lang="en-US" sz="2200" b="1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rebuchet MS" pitchFamily="34" charset="0"/>
              <a:ea typeface="LF_Kai" pitchFamily="2" charset="-122"/>
              <a:cs typeface="LF_Kai"/>
            </a:endParaRPr>
          </a:p>
        </p:txBody>
      </p:sp>
    </p:spTree>
    <p:custDataLst>
      <p:tags r:id="rId1"/>
    </p:custDataLst>
  </p:cSld>
  <p:clrMapOvr>
    <a:masterClrMapping/>
  </p:clrMapOvr>
  <p:transition xmlns:p14="http://schemas.microsoft.com/office/powerpoint/2010/main">
    <p:cut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5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Welcome</a:t>
            </a:r>
          </a:p>
        </p:txBody>
      </p:sp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Rectangle 2"/>
          <p:cNvSpPr>
            <a:spLocks noGrp="1" noChangeArrowheads="1"/>
          </p:cNvSpPr>
          <p:nvPr>
            <p:ph type="title"/>
          </p:nvPr>
        </p:nvSpPr>
        <p:spPr>
          <a:xfrm>
            <a:off x="762000" y="838200"/>
            <a:ext cx="7696200" cy="288925"/>
          </a:xfrm>
        </p:spPr>
        <p:txBody>
          <a:bodyPr/>
          <a:lstStyle/>
          <a:p>
            <a:pPr lvl="1"/>
            <a:r>
              <a:rPr lang="en-US" sz="2300" dirty="0" smtClean="0"/>
              <a:t>Case Study A:  Day in the life of Risk Services</a:t>
            </a:r>
          </a:p>
        </p:txBody>
      </p:sp>
      <p:sp>
        <p:nvSpPr>
          <p:cNvPr id="93188" name="AutoShape 4" descr="data:image/jpg;base64,/9j/4AAQSkZJRgABAQAAAQABAAD/2wCEAAkGBhQSDhQQEA8QEBQUEBkQFA4QFhEQFBAQFBwWFRUQFRQYHycqFxkjGRUTHy8iIycsLCwsFR4xQTIqNSYrLSkBCQoKBQUFDQUFDSkYEhgpKSkpKSkpKSkpKSkpKSkpKSkpKSkpKSkpKSkpKSkpKSkpKSkpKSkpKSkpKSkpKSkpKf/AABEIAMwA9wMBIgACEQEDEQH/xAAbAAACAwEBAQAAAAAAAAAAAAAABAMFBgECB//EAEkQAAIBAQMEDQkIAQMDBQEAAAECAwAEERIFEyFTBhQVIzEzUVJzkZKT0iIyQVRxsbLR0wc0QmFiY3Kis0OBoSR0dRY1NsHCCP/EABQBAQAAAAAAAAAAAAAAAAAAAAD/xAAUEQEAAAAAAAAAAAAAAAAAAAAA/9oADAMBAAIRAxEAPwD7PLaXzhRERrkViWcp5xYXABTzf+a5nJtXF3j/AE67H94foo/ilpqgUzk2ri7x/p0ZybVxd4/06booFM5Nq4u8f6dGcm1cXeP9Om6KBTOTauLvH+nRnJtXF3j/AE6booFM5Nq4u8f6dGcm1cXeP9Om6KBTOTauLvH+nRnJtXF3j/TrL5O+0FpctS5KNjwtCpkefPBlzVyFXC4LyTnI9HovOnRV3YNl1kmWV4bVFKsK4pShLZpdOluTzT1Ggdzk2ri7x/p0ZybVxd4/06rZNnNhWBLQ1tgELsUSYtcjuvnKG4CR/wDR5KnynssslnEZtFqihEq4o84cOcGjzb+HhGj86BvOTauLvH+nRnJtXF3j/TqOfL0CWiOzPMizSrijhN+J106VHpHknqqHZRsijsNjltc2IpGAcK6WdmIVUH5liBQNZybVxd4/06M5Nq4u8f6dYXYr9sAtNshslpsEtia0xCazu7iRZkYMVbzVuDBWuOm8i6qu1f8A9ARLLI0eT55bLHMIXtiuo8psWErGRpvCORew0D0UH07OTauLvH+nRnJtXF3j/TrH7LPtjsNiiVlfbUsiJIlniNzZuRQ6u7Eb2CjAgHSbxo9Ij2WfbNZLEqLcbROwUtZYmF8IYBt8e64EXjRw/kKDaZybVxd4/wBOjOTauLvH+nTQNdoFM5Nq4u8f6dGcm1cXeP8ATpuigUzk2ri7x/p0ZybVxd4/06booFM5Nq4u8f6dGcm1cXeP9Om6KBTOTauLvH+nRnJtXF3j/TpuigWs1oYuyOiqQqterFwQxYelRd5v/NFcj+8P0UfxS0UBH94foo/ilpqlY/vD9FH8UtNUBRRRQFFFFAUUUUBRRRQfJtjv/wA5yh/2Q+Gx1P8AZMdGWf8AyU3/AOqNhViefZPlDKcattUxbWSZlZBLKogVgmIDEAYXvI/Llq+H2evFPa3sVuazJbWMk0LRJNhka/FJC5YYCcR4Qw6hQfNNkf8A8Lyb/wB2nvtNfTPtY2ObcyTMqm6WAbbhN9xDxXkge1cS+0jkrxsk+zGO05Ns+TYp2s8NnZXBwCV3KBlUkkgaS7k6NJPopj/0VO00882UM7JLYmsKnMIiQxu2JmCB/KY/meTkuoEfs0tj5QUZXnW5mgWxwryLHcbTLcDozk4YfxiWtXsgyLBarM0FrQPCbnZWZox5BxAllIIAIv4fRSOwfYtudYlsYmz6ozFHKCMgOS5U3E3+UW06OGvOz/ItoteTZrLZJEiklATHIWVc2SM4pKgnSt44PTQfKNg9lGU9kBtkCFLFk6IQ2cHEd7jVo7OgLabz5chvvI4Dw18/yd/7Ba//ACFl+C019m+znYRlbJ7xwSTZP2mHd5o4gxlkLKbjiMYvN+AcPAt1Ze0fYdlBBNYoJrIbJLaUnz0hkEqiISKgKheG6Q3gX3kDSNNAl9p2S4l2O5JtCwxrK8MKvMqqHdRZxcGYC9rsK3X8F1TfbrkyJLPk2ZIY0kkRs5KiqrS3JBdjYDyrrzw8tbn7QvsymteS7HYbJJENq4VxTlkxIkebB8lW0nQaj+077NrTlGz2KKzvZ1azKwcys6gkrGow4UN+lDw3eig+lrwV2uCu0BRRRQFFFFAUUUUBRRRQKx/eH6KP4paKI/vD9FH8UtFBE8xW0PdG771HpUxi7ypecwqXbjery9cHjoRv+ofoo/ilpLZRY89Y5IlMt7YQDCY8YuZTiukIV1F17KfOUMum+6gd22/q8vXB46NuN6vL1weOvncOxm1XPnLLGpkzUxWJohEjR2aeJogpbyTnGW4C8DH51wJGm2FZJls2ejm0qrJFBKSpaSzIt8eO4+egbNknhzd/poL7bjery9cHjo243q8vXB46ZxjlFUmzHJW2rC9mUm+Ro1xIQGjGcQmUEkaVALcuigstuN6vL1weOjbjery9cHjr53FsZtmcd7TDtgSSvJLEjxYZJpbJCiugZh5CTCdBfcRjVrvSHtj2xy1w2yB5TnUJU2h2dTdaYbKIBaUBN5Ehd1bRffGhu0mg223G9Xl64PHRtxvV5euDx0xjHKK7jHKKBbbbery9cHjo22/q8vXB46zuXtjQmyhFKIUZTZ5xLKSuic7W2uTeb9Gae64XDTzjfl//AEraTHZcVlJzUMEMqE2aQsYbLaonNzOAymWWIAk+jFoABoPpW3G9Xl64PHRtxvV5euDx1NEwwjgGgaL77vyvr3jHKKBbbjery9cHjo22/q8vXB46yez3Y5NaZFay6C9knsssiuEZL83PAwvIv32HBo9ExqqtOxm0GYytZsRlsV7qu12CWyV7TK6B2cFcBmj8pb8QQLwUH0Hbjery9cHjo243q8vXB46zmwTJMsAkzq5lGis6LAWVrpo4gs81ykhcTYRoOnNk+nTrMY5RQLbcb1eXrg8dG239Xl64PHXu1QJIhjkCurC5kPAw5DyivmE2wu07TjWODNynJ1viluaC9rRNm1gQnHdeVQjEOD0kUH0zbjery9cHjo243q8vXB46yWxzIU0dsxPFgRbRaZw+KMqUnWEIoAN+IYXBF1wwfmL9tjHKKBbbjery9cHjo22/q8vXB46YxjlFfPdkWxSeaXKEixK2cezmAERFnwizrI6uXGFQElBQ3Yr7+Sg3W3G9Xl64PHRtxvV5euDx1kth+RZ4bYzzxYFFmkhxhozGzm1TyjNqGJSMxyIVU+aLlvJWtrjHKKBfbjery9cHjo243q8vXB46ZxjlFZjZ3k2SeFBAhkdHMixnNtDI2BkzVoVmXyGDsMS6UNzeigvttt6vL1weOjbjery9cHjr59lLY5aZXtDtZseeezWlAXibMyJaFE0VzPdi2qkIJGgiMjhYg/RbNCkaLGgCqihFUcCqouAH+1AvZZS08l6Mm9x6GwG/TLzWNFSRH/qH6KP4paKCM2ZGtD40Rroo/OUNd5UvLU250Wpj7C/KvMf3h+ij+KWmqBfc6LUx9hflRudFqY+wvypiigrrZk+O+Peo+NH4F5G/KmdzotTH2F+Vebbwx9KPc1NUC+50Wpj7C/Kjc6LUx9hflTFFAq+TorjvMXBzF+VQ2DJ8eZj3qPi1/AvIPyp5+A+yocn8TH0a+4UBudFqY+wvyo3Oi1MfYX5UxRQL7nRamPsL8qVsmT48cu9R8aPwLq4vyqypSx+fN0o/xxUHvc6LUx9hflRudFqY+wvypiigX3Oi1MfYX5UtJk+PPoM1H5j/AIF5Y/yqxpWXj4/4P746D1udFqY+wvyo3Oi1MfYX5UxRQL7nRamPsL8qWyjk+MQvvUfBzF+VWNK5T4l/ZQLSmBbQlnMK45EaRd6GHCmENe911/lDRw03udFqY+wvypa15NdrXDOsiKsSupjKMzPnMN5DhgFuwj8J9NWNAvudFqY+wvyrm50Wpj7C/KmaKCpgssawu+11kIkluREjLNdI9yi+4dZAr3kzMzxCRYFXynQo6IGSSNmjdDdeLwysLwSDdoJFdzLvZpEhlEMjPKFlK5zAxkfysN4vu9tS5GsBhgWIlDhvF8augN5JvON3JY33lixJJJ9NBLudFqY+wvyo3Oi1MfYX5UxRQJWaBVncIqrvUfmgLfpl5KK9x/eH6KP4paKAj+8P0UfxS01Ve9mDWhyS4uiTzXkT8UvoUi+oMmzQzhs29ovRgrJI1rhdSQGF6SEG4ggg3XUFvRSu5y86XvZ/FRucvOl72fxUBbeGPpR7mpqqy2ZPW+PypeNA42fkb9Vcvhz+1s7Jnc0Zs3nbReIwQuI+Vo0kDTw6eQ0FpRSu5y86XvZ/FRucvOl72fxUDD8B9lQ5P4mPo19wrw+TluPlS8Gtn8VVrSwwwQmRrR5YVFWM2yZmbAXICR4j5qseD0UF7RSi5PUi/FN/vLOP+MVd3OXnS97P4qBqlLH583Sj/HFXdzl50vez+KkM1HGJ5JJJFRJLyxln0DNxcjaT/wA0FzRSFmsySIHU2gAi8B3tUTf7o5BH+4qXc5edL3s/ioGqVl4+P+D++Ojc5edL3s/ipaTJ655Bil8x/wDVn5Y/1UFnRVPHaIWtG18VqElzMA+3UVlQqGZZGuVgC68BPnCntzl50vez+KgapXKfEv7KNzl50vez+Klso5PUQucUvBrZ/FQWdFU9qtMEcqxPLMHbDoD2pgucYpHjcG5MTgquIi8i4U9ucvOl72fxUDVcpbc5edL3s/io3OXnS97P4qAyd5h6WX/I9NVTJHFFA8skkqqskhLZ2c6BI40ANeSdAuGkk1PYFimjzkbzFbyumS0oyspKsrKzAqQQRcRQWVFK7nLzpe9n8VG5y86XvZ/FQEf3h+ij+KWio7LAFnkALHe4/OZ39MvOJurtB6Xj5LuHNJdfy3y0lkDJskbTySiNDNKJc1E7zKpwqrNnHVSSSOC64AC7009H94foo/ilpqgKKKKBW28MfSj3NVbZ9jWC37aWWQqyTY43IN8kpgII8m/CFhu0nRhQDQKsrbwx9KPc1NUBRRRQeX4D7KoMsZJe0WKJI0jZwgKSSSSwmBzGUEyNGpJYYjovF950ir9+A+yocn8TH0a+4UEsSkKATiIABY6MRHpr3RRQFUeVcmG0Q2iJSt+fjkAYsqsYhZ5QjFdIDYMJI0gG/TV5Slj8+bpR/jioIcgWB4bOI5CCcbsFVmdY0d2dIVZgCyopCgkDzeADQLGiigKVl4+P+D++OmqVl4+P+D++OghsuTmFpltEhUllWKIC/e4VGI33/iaRmJu9Cx8lWFFFAUrlPiX9lNUrlPiX9lBTZY2OSS22O0KUAXM3MWdWjzUrSSDNgXTB1KqMZGAriGmtHRRQFFFFBVS2ITWWWIqHxPLcpZovLEjlTnFBKEMAcQBIuvr1seyU0EJV2xO8rzOcTP5TknDiYAtcMIvuF919w4Azk7zD0sv+R6aoCiiigVj+8P0UfxS0UR/eH6KP4paKCJoS1oe6R03qPQojN/lS85TUu1G18vVD4KE49+ij+KWsFbYGay3CK1OBugIQ8dqZ1tkkoexS+WMQOAvhkOhb+EGg3u1G18vVD4KNqNr5eqHwUyvBprtBWWyytfHv8vGj0Q8jfopnaja+Xqh8FFt4Y+lHuaqdyBb7ViFpwtYogWUWrDiUzYhEyi4NhePRGcRJ5RQXG1G18vVD4KNqNr5eqHwUpsVJ3PswYOrCzRqyyK6OHVQrBlYAg3g8NWtAo9ka47/LwckPgqGwWVszHv8ALxa+iHkH6KffgPsrPZe+4QECYkTWV7oRM5uWSJnLLECSuAOSCLtHsoLnaja+Xqh8FG1G18vVD4KpMlopynM6QyQ4Y2jYmKZBanLIzTNIVwsFuCppJ8qT8N1+loFdqNr5eqHwUrZLK2Obf5eNHoh1cX6KtKrZLsFpxY7sRvzecx3ZqPzc35V/8dNAxtRtfL1Q+Cjaja+Xqh8FZGzw4hkwiGXPpHCJC0FoSQRqjKwM7ACNVbGWQ6X8kaL1v3FArtRtfL1Q+ClpLK2fTf5fMf0Q8sf6Ks6Vl4+P+D++OgNqNr5eqHwUbUbXy9UPgrP2mKZrZa0s+cUvHZ/LlNpjjuUy55YZSrBWwsnmaAWvuvvqz2IxOuTrMsqlHWzorIS5KkKBccQBvuuvvHDfw8NA7tRtfL1Q+Clso2Vsy+/y8HJD4Ks6VynxL+ygNqNr5eqHwUbUbXy9UPgqpyyP+vg4+42edGZFndFxBMN4UFQ2hrr9Po9NR7BYM3Z3jCAIkgRJhDJZWtCiOO+V45NOLFiUn04KC62o2vl6ofBRtRtfL1Q+CmqKCssFlbAd/l42T0Q6x/0UztRtfL1Q+CoobsxJixXY5r8GPFdjkvw4PKvu4MOnk01jbAJg1gYxO+CyWSNY54J2Ky42jtjlzdmZEQI2JxewW4X3m8NvtRtfL1Q+Cjaja+Xqh8FNUUCNliKzyXuz73HpbALtMvNArte4/vD9FH8UtFAR/eH6KP4paapBse2HwYOKjvxYudLyVLv37X96Bqild+/a/vRv37X96AtvDH0o9zU1VbbM7fHxXGjn8jUxv37X96Bqild+/a/vRv37X96Bh+A+yocn8TH0a+4V4fO3HiuD9dQ2DO5mPiuLXn8goLGild+/a/vRv37X96BqlLH583Sj/HFXd+/a/vS1kzuObiuNHP1cVBZ0Urvv7X96N+/a/vQNUrLx8f8AB/fHRv37X96XlzufTivMfn8sdBZUUrv37X96N+/a/vQNUrlPiX9lG/ftf3pfKOdzL8VwfroLKild+/a/vRv37X96Bqild+/a/vRv37X96Ayf5h6WX/I9NVWZPzuA8VxsnP1j0zvv7X96Bqild+/a/vRv37X96Aj+8P0UfxS0VHZcWfkx4eKjuw38svLXaD2nHv0UfxS1lpbbJJY2C2yQzm3TWWF4jEuJzI6pjUKb1jjUuRw4YzWpj+8P0UfxS1LFZEXzY0XTi8lVGm66/R6btFB7QXAC8m4XXm68/mbq9UUUCtt4Y+lHuas3l/K8iS2tEtAF0FkMaEoubaaaSJ/KuJQMAgLkHBeGuN1x0lt4Y+lHuapGsaEsTGhLLhYlVJZToKk+kXAaPyoK3Ypa2ksitIzMwkljJYqxGblkQJjGh8IULi/Fhv8ATVxXmOMKoVQFAFwVQAABwAAcAr1QeX4D7KosrWxorHZ3WbNb/ZUYnB5cbyRI8flcF6s3Bp0VevwH2UrZbOrwRh0Vxm1NzAML8N19x9poKLI1un3RkhlZ2GCaRhigeNFEqLZcAQ4o74i4IcC9ozdfcTWpqOOBVLFVVSxxMVABZuC83cJqSgKqLbaESK0vLM0CBwWlQgMowQ6F0HSeAAC8k6NN1W9JWeIM0ysoYGUXqwBB3uLhBoMfZMrziWIPaWLA2YLBihfOx2iedJBIUG+OkKLeVNwaFjwE372oEsUYKlY4wUvCkKowBvOC6NF/puqegKVl4+P+D++OmqVl4+P+D++OgzNuykwktpgtrYYrNIWLtC4jtS3FViUjQEW9WvvF7qNLK12oyfNjhje8NijVsQuN5IGnRQbBHexzUd7C5jhW9hw3E3adIHVU0cYUBVAUDQFAAAHIAKD1SuU+Jf2U1SuU+Jf2UFRlu2XW2COO0sj3h5IS0YjFm8oM7qwvLMblW433reNCvXvYjazJHK4naeIzbw8jI7mLAl7EqB5LOJGW/ThYcAIAuJLIjMGaNGYcDMqkj06CeCuwWVEvCIiXm8hFC3nlN1BLRRRQVjzKllleSUwopmLTAgGNQ8l7gkG672Vm0yhIIrLIbW+I2tUzbSQs+1pZykayRBd8coVQ6QU0t5RU4tZYkBjYMAQZZQQdIIzj6CK9pk+JSpWKMFb8JCqCuLhwm7Rf+VAxRRRQKx/eH6KP4paKI/vD9FH8UtFBE0rC0PhjL71HpvUXeVLy1Ltl9Se0leWYCWQsbgIUJOkXC+a81hJbfM1ikksUkkkJnzoAtDPPCiiERxMzksodhJIy33gMF0XtcG92xJqD2ko2xJqD2kpkV2grbZaHvj3k8aPxJyNTG2X1J7SUW3hj6Ue5qymW7Sj2u0Rx202ZkszJK0k8qrnHERQpFjGBUQEl0w8Zwk47g1e2H1J7SUbYk1B7SUnsVtOOyI1x8+RQxklnEgV3USrJISzIwAYXngYXXi41bUCj2h7jvJ4OclQ2C0PmY95PFr+JOQU+/AfZWW2U2pFsESGVoZJFCQyiWSzrHKU46RlIBVBe2Fr7yAACSKDQ7Yk1J7SUbYk1B7SVnNjmUXa3zLI2cLGYkB5f+njilVYFaInCokiZXVgAThY+VebtbQK7Yk1B7SUtZLQ+ObeTxo/Emriqzqkynao44LU85cRhxizbPG58iEBVZSCCSQOEDTpIF9BY7ZfUntJRtiTUHtJWXyVAZGsaraJZGVTPLLFaJ5IhCjMI7OSGwynGwTEwJZYHv03VsqBXbEmoPaSl5LQ+fTeT5j/iTljqypWXj4/4P746A2y+pPaSjbEmpPaSsTlnKKma0Zi0sgWSOKVJJ5rjJn487IVxXwQKt8ZZbgc4dFygnVbFJmawws5ctg0s5LFriQGDHS6kAFWOkrcTpJoHNsSag9pKXyjaHzL7yeDnJVlSuU+Jf2UBth9Se0lG2H1J7SVQ7IrSu3YIY7QYJyMeJpXWPNnGqpmS2GV3fRdcSApN4IW/mwSWRklxPnIwyKkmee1q8gRc80czgYlLXcGgHFwG8AL/AGxJqD2ko2xJqD2kpqigrMn2h8B3k8bJ+JNY9M7ZfUntJS+NBZpDK5RMcuNwzR4Vzj3tjUgr7QRdWIsVukvjBnlJEsYsuGWZ0nvtjraMBJ3+MQZsXvfcl5Fw00G/2xJqD2ko2xJqD2kpqigRssjGeTEmDeo9F4N+mXkrte4/vD9FH8UtFAR/eH6KP4paapB7SFtD3hzfFH5qSP8Ail9Kg1LuivNl7qfw0DVFK7orzZe6n8NG6K82Xup/DQFt4Y+lHuamqrLZlBb4/Jl40Hip+Rv00zuivNl7qfw0DVFK7orzZe6n8NG6K82Xup/DQMPwH2VDk/iY+jX3CvD5RW4+TLwaqfw1DYMoLmY/Jl4tf9KfkH6aCxopXdFebL3U/ho3RXmy91P4aBqlLH583Sj/ABxV3dFebL3U/hpWyZQXHL5MvGj/AEp9XF+mgtKKV3RXmy91P4aN0V5svdT+GgapWXj4/wCD++OjdFebL3U/hpaTKC59Dhl8x/8ASn5Y/wBNBZ0UruivNl7qfw0borzZe6n8NA1SuU+Jf2UborzZe6n8NLZRygphcYZeDVT+Ggs6KV3RXmy91P4aN0V5svdT+GgaopXdFebL3U/ho3RXmy91P4aAyf5h6WX/ACPTVVtitoVSCso3yQ8VNwM7EHzeQimN0V5svdT+GgaopXdFebL3U/ho3RXmy91P4aAj+8P0UfxS0VHZZw08hAYb3H5yunpl5wF9doPace/RR++Ws2mVLQglRpsTRZQs0V80ceNrPO8KMRmiFAYu5U3EgC4i/SNIovncHSM0guPp0y0uuxuyiPNCyWfN487m82mHOAXB7rvOAAAPoAHJQWIrtFFArbeGPpR7mpqlbbwx9KPc1NUBRRRQeX4D7KhyfxMfRr7hUz8B9lQ5P4mPo19woGKKKKApSx+fN0o/xxU3Slj8+bpR/jioG6KKKApWXj4/4P746apWXj4/4P746BqiiigKVynxL+ymqVynxL+ygaoqqyjbLQryCOHEqwl0IXEWkANy3Y1v03DDovvvxClLLb7aSMdniUZ3Cbr783jhGIeVzHmOnV8A4CGgorPPly2AkDJZIBcBs/HpCC8NddwPwL+fDcNNRTZatocFbBemZDmMkFhKTpjx4gDcLuBeXhoNNRWbbLNtJI2jm1uUh8SzkG/SMAZMRuI9IAuJvPBXVy5bMRG5puvOEmVV0KwAv0HhGn/jTw0GjorO2fLdsJIbJ5QXMQ2NTdcGwrd+I4govvA0k8FxMliyra2mVZLEEjbCMQkDFD5RZjo0i7ALtGkNpN4oLSP7w/RR/FLRRH94foo/ilooIzaUW0PjdVvijuxELf5UvLU26MWuj7a/OpytcwDkFBDujFro+2vzo3Ri10fbX51NgHIKMA5BQIWy3x3x77HxoPnryN+dM7oxa6Ptr86nwDkFcwDkFBDujFro+2vzo3Ri10fbX51NgHIKMA5BQLvlCK477Hwc9fnUNgyhHmY99j4tfxLyD86ewDkFGAcgoId0YtdH21+dG6MWuj7a/OpsA5BRgHIKCHdGLXR9tfnStkt8eOXfY+NH4l1cX51YYByCu4ByCgg3Ri10fbX50boxa6Ptr86mwDkFGAcgoId0YtdH21+dLSW+PPoc7H5j/jXlT86fwDkFdwDkFBBujFro+2vzo3Ri10fbX51NgHIKMA5BQQ7oxa6Ptr86Wyjb4zC4EsfBz1+dP4ByCu4ByCgg3Ri1sfbX50boxa6Ptr86mwDkFGAcgoId0YtdH21+dG6MWtj7a/OpsA5BRgHIKCHdGLXR9tfnRujFrY+2vzqbAOQUYByCgh3Ri1sfbX50boxa6Ptr86mwDkFGAcgoFLNOrTuVZW3uPzSGu0y8lFOAUUH/2Q=="/>
          <p:cNvSpPr>
            <a:spLocks noChangeAspect="1" noChangeArrowheads="1"/>
          </p:cNvSpPr>
          <p:nvPr/>
        </p:nvSpPr>
        <p:spPr bwMode="auto">
          <a:xfrm>
            <a:off x="79375" y="-727075"/>
            <a:ext cx="1828800" cy="1504950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Rectangle 10"/>
          <p:cNvSpPr/>
          <p:nvPr/>
        </p:nvSpPr>
        <p:spPr bwMode="auto">
          <a:xfrm>
            <a:off x="4126675" y="1278575"/>
            <a:ext cx="5158915" cy="228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rebuchet MS" pitchFamily="34" charset="0"/>
              </a:rPr>
              <a:t>Enterprise</a:t>
            </a:r>
            <a:r>
              <a:rPr kumimoji="0" lang="en-US" sz="1400" b="1" i="0" u="none" strike="noStrike" cap="none" normalizeH="0" dirty="0" smtClean="0">
                <a:ln>
                  <a:noFill/>
                </a:ln>
                <a:solidFill>
                  <a:schemeClr val="bg1"/>
                </a:solidFill>
                <a:effectLst/>
                <a:latin typeface="Trebuchet MS" pitchFamily="34" charset="0"/>
              </a:rPr>
              <a:t> Risk Management (ERM) </a:t>
            </a:r>
            <a:r>
              <a:rPr kumimoji="0" lang="en-US" sz="14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rebuchet MS" pitchFamily="34" charset="0"/>
              </a:rPr>
              <a:t>Solution</a:t>
            </a:r>
            <a:r>
              <a:rPr kumimoji="0" lang="en-US" sz="1400" b="1" i="0" u="none" strike="noStrike" cap="none" normalizeH="0" dirty="0" smtClean="0">
                <a:ln>
                  <a:noFill/>
                </a:ln>
                <a:solidFill>
                  <a:schemeClr val="bg1"/>
                </a:solidFill>
                <a:effectLst/>
                <a:latin typeface="Trebuchet MS" pitchFamily="34" charset="0"/>
              </a:rPr>
              <a:t> Set</a:t>
            </a:r>
            <a:endParaRPr kumimoji="0" lang="en-US" sz="14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rebuchet MS" pitchFamily="34" charset="0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094992" y="1447800"/>
            <a:ext cx="5315708" cy="60636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2" name="TextBox 11"/>
          <p:cNvSpPr txBox="1"/>
          <p:nvPr/>
        </p:nvSpPr>
        <p:spPr>
          <a:xfrm>
            <a:off x="1242950" y="3715000"/>
            <a:ext cx="1981200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200" dirty="0" smtClean="0"/>
              <a:t>Recall what the Office of Risk Services does… </a:t>
            </a:r>
            <a:endParaRPr lang="en-US" sz="2200" dirty="0"/>
          </a:p>
        </p:txBody>
      </p:sp>
      <p:sp>
        <p:nvSpPr>
          <p:cNvPr id="13" name="Left Brace 12"/>
          <p:cNvSpPr/>
          <p:nvPr/>
        </p:nvSpPr>
        <p:spPr bwMode="auto">
          <a:xfrm>
            <a:off x="2971800" y="1600200"/>
            <a:ext cx="838200" cy="5638800"/>
          </a:xfrm>
          <a:prstGeom prst="leftBrace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14" name="Oval 13"/>
          <p:cNvSpPr/>
          <p:nvPr/>
        </p:nvSpPr>
        <p:spPr bwMode="auto">
          <a:xfrm>
            <a:off x="8915400" y="152400"/>
            <a:ext cx="990600" cy="990600"/>
          </a:xfrm>
          <a:prstGeom prst="ellips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8979725" y="404750"/>
            <a:ext cx="87382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Risk</a:t>
            </a:r>
          </a:p>
          <a:p>
            <a:pPr algn="ctr"/>
            <a:r>
              <a:rPr lang="en-US" dirty="0" smtClean="0"/>
              <a:t>Services</a:t>
            </a:r>
            <a:endParaRPr lang="en-US" dirty="0"/>
          </a:p>
        </p:txBody>
      </p:sp>
    </p:spTree>
    <p:custDataLst>
      <p:tags r:id="rId1"/>
    </p:custDataLst>
  </p:cSld>
  <p:clrMapOvr>
    <a:masterClrMapping/>
  </p:clrMapOvr>
  <p:transition xmlns:p14="http://schemas.microsoft.com/office/powerpoint/2010/main">
    <p:cut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Rectangle 2"/>
          <p:cNvSpPr>
            <a:spLocks noGrp="1" noChangeArrowheads="1"/>
          </p:cNvSpPr>
          <p:nvPr>
            <p:ph type="title"/>
          </p:nvPr>
        </p:nvSpPr>
        <p:spPr>
          <a:xfrm>
            <a:off x="762000" y="838200"/>
            <a:ext cx="8153400" cy="304800"/>
          </a:xfrm>
        </p:spPr>
        <p:txBody>
          <a:bodyPr/>
          <a:lstStyle/>
          <a:p>
            <a:pPr lvl="1"/>
            <a:r>
              <a:rPr lang="en-US" sz="2300" dirty="0" smtClean="0"/>
              <a:t>Case Study A:  Part 1 – Background Story</a:t>
            </a:r>
          </a:p>
        </p:txBody>
      </p:sp>
      <p:sp>
        <p:nvSpPr>
          <p:cNvPr id="93188" name="AutoShape 4" descr="data:image/jpg;base64,/9j/4AAQSkZJRgABAQAAAQABAAD/2wCEAAkGBhQSDhQQEA8QEBQUEBkQFA4QFhEQFBAQFBwWFRUQFRQYHycqFxkjGRUTHy8iIycsLCwsFR4xQTIqNSYrLSkBCQoKBQUFDQUFDSkYEhgpKSkpKSkpKSkpKSkpKSkpKSkpKSkpKSkpKSkpKSkpKSkpKSkpKSkpKSkpKSkpKSkpKf/AABEIAMwA9wMBIgACEQEDEQH/xAAbAAACAwEBAQAAAAAAAAAAAAAABAMFBgECB//EAEkQAAIBAQMEDQkIAQMDBQEAAAECAwAEERIFEyFTBhQVIzEzUVJzkZKT0iIyQVRxsbLR0wc0QmFiY3Kis0OBoSR0dRY1NsHCCP/EABQBAQAAAAAAAAAAAAAAAAAAAAD/xAAUEQEAAAAAAAAAAAAAAAAAAAAA/9oADAMBAAIRAxEAPwD7PLaXzhRERrkViWcp5xYXABTzf+a5nJtXF3j/AE67H94foo/ilpqgUzk2ri7x/p0ZybVxd4/06booFM5Nq4u8f6dGcm1cXeP9Om6KBTOTauLvH+nRnJtXF3j/AE6booFM5Nq4u8f6dGcm1cXeP9Om6KBTOTauLvH+nRnJtXF3j/TrL5O+0FpctS5KNjwtCpkefPBlzVyFXC4LyTnI9HovOnRV3YNl1kmWV4bVFKsK4pShLZpdOluTzT1Ggdzk2ri7x/p0ZybVxd4/06rZNnNhWBLQ1tgELsUSYtcjuvnKG4CR/wDR5KnynssslnEZtFqihEq4o84cOcGjzb+HhGj86BvOTauLvH+nRnJtXF3j/TqOfL0CWiOzPMizSrijhN+J106VHpHknqqHZRsijsNjltc2IpGAcK6WdmIVUH5liBQNZybVxd4/06M5Nq4u8f6dYXYr9sAtNshslpsEtia0xCazu7iRZkYMVbzVuDBWuOm8i6qu1f8A9ARLLI0eT55bLHMIXtiuo8psWErGRpvCORew0D0UH07OTauLvH+nRnJtXF3j/TrH7LPtjsNiiVlfbUsiJIlniNzZuRQ6u7Eb2CjAgHSbxo9Ij2WfbNZLEqLcbROwUtZYmF8IYBt8e64EXjRw/kKDaZybVxd4/wBOjOTauLvH+nTQNdoFM5Nq4u8f6dGcm1cXeP8ATpuigUzk2ri7x/p0ZybVxd4/06booFM5Nq4u8f6dGcm1cXeP9Om6KBTOTauLvH+nRnJtXF3j/TpuigWs1oYuyOiqQqterFwQxYelRd5v/NFcj+8P0UfxS0UBH94foo/ilpqlY/vD9FH8UtNUBRRRQFFFFAUUUUBRRRQfJtjv/wA5yh/2Q+Gx1P8AZMdGWf8AyU3/AOqNhViefZPlDKcattUxbWSZlZBLKogVgmIDEAYXvI/Llq+H2evFPa3sVuazJbWMk0LRJNhka/FJC5YYCcR4Qw6hQfNNkf8A8Lyb/wB2nvtNfTPtY2ObcyTMqm6WAbbhN9xDxXkge1cS+0jkrxsk+zGO05Ns+TYp2s8NnZXBwCV3KBlUkkgaS7k6NJPopj/0VO00882UM7JLYmsKnMIiQxu2JmCB/KY/meTkuoEfs0tj5QUZXnW5mgWxwryLHcbTLcDozk4YfxiWtXsgyLBarM0FrQPCbnZWZox5BxAllIIAIv4fRSOwfYtudYlsYmz6ozFHKCMgOS5U3E3+UW06OGvOz/ItoteTZrLZJEiklATHIWVc2SM4pKgnSt44PTQfKNg9lGU9kBtkCFLFk6IQ2cHEd7jVo7OgLabz5chvvI4Dw18/yd/7Ba//ACFl+C019m+znYRlbJ7xwSTZP2mHd5o4gxlkLKbjiMYvN+AcPAt1Ze0fYdlBBNYoJrIbJLaUnz0hkEqiISKgKheG6Q3gX3kDSNNAl9p2S4l2O5JtCwxrK8MKvMqqHdRZxcGYC9rsK3X8F1TfbrkyJLPk2ZIY0kkRs5KiqrS3JBdjYDyrrzw8tbn7QvsymteS7HYbJJENq4VxTlkxIkebB8lW0nQaj+077NrTlGz2KKzvZ1azKwcys6gkrGow4UN+lDw3eig+lrwV2uCu0BRRRQFFFFAUUUUBRRRQKx/eH6KP4paKI/vD9FH8UtFBE8xW0PdG771HpUxi7ypecwqXbjery9cHjoRv+ofoo/ilpLZRY89Y5IlMt7YQDCY8YuZTiukIV1F17KfOUMum+6gd22/q8vXB46NuN6vL1weOvncOxm1XPnLLGpkzUxWJohEjR2aeJogpbyTnGW4C8DH51wJGm2FZJls2ejm0qrJFBKSpaSzIt8eO4+egbNknhzd/poL7bjery9cHjo243q8vXB46ZxjlFUmzHJW2rC9mUm+Ro1xIQGjGcQmUEkaVALcuigstuN6vL1weOjbjery9cHjr53FsZtmcd7TDtgSSvJLEjxYZJpbJCiugZh5CTCdBfcRjVrvSHtj2xy1w2yB5TnUJU2h2dTdaYbKIBaUBN5Ehd1bRffGhu0mg223G9Xl64PHRtxvV5euDx0xjHKK7jHKKBbbbery9cHjo22/q8vXB46zuXtjQmyhFKIUZTZ5xLKSuic7W2uTeb9Gae64XDTzjfl//AEraTHZcVlJzUMEMqE2aQsYbLaonNzOAymWWIAk+jFoABoPpW3G9Xl64PHRtxvV5euDx1NEwwjgGgaL77vyvr3jHKKBbbjery9cHjo22/q8vXB46yez3Y5NaZFay6C9knsssiuEZL83PAwvIv32HBo9ExqqtOxm0GYytZsRlsV7qu12CWyV7TK6B2cFcBmj8pb8QQLwUH0Hbjery9cHjo243q8vXB46zmwTJMsAkzq5lGis6LAWVrpo4gs81ykhcTYRoOnNk+nTrMY5RQLbcb1eXrg8dG239Xl64PHXu1QJIhjkCurC5kPAw5DyivmE2wu07TjWODNynJ1viluaC9rRNm1gQnHdeVQjEOD0kUH0zbjery9cHjo243q8vXB46yWxzIU0dsxPFgRbRaZw+KMqUnWEIoAN+IYXBF1wwfmL9tjHKKBbbjery9cHjo22/q8vXB46YxjlFfPdkWxSeaXKEixK2cezmAERFnwizrI6uXGFQElBQ3Yr7+Sg3W3G9Xl64PHRtxvV5euDx1kth+RZ4bYzzxYFFmkhxhozGzm1TyjNqGJSMxyIVU+aLlvJWtrjHKKBfbjery9cHjo243q8vXB46ZxjlFZjZ3k2SeFBAhkdHMixnNtDI2BkzVoVmXyGDsMS6UNzeigvttt6vL1weOjbjery9cHjr59lLY5aZXtDtZseeezWlAXibMyJaFE0VzPdi2qkIJGgiMjhYg/RbNCkaLGgCqihFUcCqouAH+1AvZZS08l6Mm9x6GwG/TLzWNFSRH/qH6KP4paKCM2ZGtD40Rroo/OUNd5UvLU250Wpj7C/KvMf3h+ij+KWmqBfc6LUx9hflRudFqY+wvypiigrrZk+O+Peo+NH4F5G/KmdzotTH2F+Vebbwx9KPc1NUC+50Wpj7C/Kjc6LUx9hflTFFAq+TorjvMXBzF+VQ2DJ8eZj3qPi1/AvIPyp5+A+yocn8TH0a+4UBudFqY+wvyo3Oi1MfYX5UxRQL7nRamPsL8qVsmT48cu9R8aPwLq4vyqypSx+fN0o/xxUHvc6LUx9hflRudFqY+wvypiigX3Oi1MfYX5UtJk+PPoM1H5j/AIF5Y/yqxpWXj4/4P746D1udFqY+wvyo3Oi1MfYX5UxRQL7nRamPsL8qWyjk+MQvvUfBzF+VWNK5T4l/ZQLSmBbQlnMK45EaRd6GHCmENe911/lDRw03udFqY+wvypa15NdrXDOsiKsSupjKMzPnMN5DhgFuwj8J9NWNAvudFqY+wvyrm50Wpj7C/KmaKCpgssawu+11kIkluREjLNdI9yi+4dZAr3kzMzxCRYFXynQo6IGSSNmjdDdeLwysLwSDdoJFdzLvZpEhlEMjPKFlK5zAxkfysN4vu9tS5GsBhgWIlDhvF8augN5JvON3JY33lixJJJ9NBLudFqY+wvyo3Oi1MfYX5UxRQJWaBVncIqrvUfmgLfpl5KK9x/eH6KP4paKAj+8P0UfxS01Ve9mDWhyS4uiTzXkT8UvoUi+oMmzQzhs29ovRgrJI1rhdSQGF6SEG4ggg3XUFvRSu5y86XvZ/FRucvOl72fxUBbeGPpR7mpqqy2ZPW+PypeNA42fkb9Vcvhz+1s7Jnc0Zs3nbReIwQuI+Vo0kDTw6eQ0FpRSu5y86XvZ/FRucvOl72fxUDD8B9lQ5P4mPo19wrw+TluPlS8Gtn8VVrSwwwQmRrR5YVFWM2yZmbAXICR4j5qseD0UF7RSi5PUi/FN/vLOP+MVd3OXnS97P4qBqlLH583Sj/HFXdzl50vez+KkM1HGJ5JJJFRJLyxln0DNxcjaT/wA0FzRSFmsySIHU2gAi8B3tUTf7o5BH+4qXc5edL3s/ioGqVl4+P+D++Ojc5edL3s/ipaTJ655Bil8x/wDVn5Y/1UFnRVPHaIWtG18VqElzMA+3UVlQqGZZGuVgC68BPnCntzl50vez+KgapXKfEv7KNzl50vez+Klso5PUQucUvBrZ/FQWdFU9qtMEcqxPLMHbDoD2pgucYpHjcG5MTgquIi8i4U9ucvOl72fxUDVcpbc5edL3s/io3OXnS97P4qAyd5h6WX/I9NVTJHFFA8skkqqskhLZ2c6BI40ANeSdAuGkk1PYFimjzkbzFbyumS0oyspKsrKzAqQQRcRQWVFK7nLzpe9n8VG5y86XvZ/FQEf3h+ij+KWio7LAFnkALHe4/OZ39MvOJurtB6Xj5LuHNJdfy3y0lkDJskbTySiNDNKJc1E7zKpwqrNnHVSSSOC64AC7009H94foo/ilpqgKKKKBW28MfSj3NVbZ9jWC37aWWQqyTY43IN8kpgII8m/CFhu0nRhQDQKsrbwx9KPc1NUBRRRQeX4D7KoMsZJe0WKJI0jZwgKSSSSwmBzGUEyNGpJYYjovF950ir9+A+yocn8TH0a+4UEsSkKATiIABY6MRHpr3RRQFUeVcmG0Q2iJSt+fjkAYsqsYhZ5QjFdIDYMJI0gG/TV5Slj8+bpR/jioIcgWB4bOI5CCcbsFVmdY0d2dIVZgCyopCgkDzeADQLGiigKVl4+P+D++OmqVl4+P+D++OghsuTmFpltEhUllWKIC/e4VGI33/iaRmJu9Cx8lWFFFAUrlPiX9lNUrlPiX9lBTZY2OSS22O0KUAXM3MWdWjzUrSSDNgXTB1KqMZGAriGmtHRRQFFFFBVS2ITWWWIqHxPLcpZovLEjlTnFBKEMAcQBIuvr1seyU0EJV2xO8rzOcTP5TknDiYAtcMIvuF919w4Azk7zD0sv+R6aoCiiigVj+8P0UfxS0UR/eH6KP4paKCJoS1oe6R03qPQojN/lS85TUu1G18vVD4KE49+ij+KWsFbYGay3CK1OBugIQ8dqZ1tkkoexS+WMQOAvhkOhb+EGg3u1G18vVD4KNqNr5eqHwUyvBprtBWWyytfHv8vGj0Q8jfopnaja+Xqh8FFt4Y+lHuaqdyBb7ViFpwtYogWUWrDiUzYhEyi4NhePRGcRJ5RQXG1G18vVD4KNqNr5eqHwUpsVJ3PswYOrCzRqyyK6OHVQrBlYAg3g8NWtAo9ka47/LwckPgqGwWVszHv8ALxa+iHkH6KffgPsrPZe+4QECYkTWV7oRM5uWSJnLLECSuAOSCLtHsoLnaja+Xqh8FG1G18vVD4KpMlopynM6QyQ4Y2jYmKZBanLIzTNIVwsFuCppJ8qT8N1+loFdqNr5eqHwUrZLK2Obf5eNHoh1cX6KtKrZLsFpxY7sRvzecx3ZqPzc35V/8dNAxtRtfL1Q+Cjaja+Xqh8FZGzw4hkwiGXPpHCJC0FoSQRqjKwM7ACNVbGWQ6X8kaL1v3FArtRtfL1Q+ClpLK2fTf5fMf0Q8sf6Ks6Vl4+P+D++OgNqNr5eqHwUbUbXy9UPgrP2mKZrZa0s+cUvHZ/LlNpjjuUy55YZSrBWwsnmaAWvuvvqz2IxOuTrMsqlHWzorIS5KkKBccQBvuuvvHDfw8NA7tRtfL1Q+Clso2Vsy+/y8HJD4Ks6VynxL+ygNqNr5eqHwUbUbXy9UPgqpyyP+vg4+42edGZFndFxBMN4UFQ2hrr9Po9NR7BYM3Z3jCAIkgRJhDJZWtCiOO+V45NOLFiUn04KC62o2vl6ofBRtRtfL1Q+CmqKCssFlbAd/l42T0Q6x/0UztRtfL1Q+CoobsxJixXY5r8GPFdjkvw4PKvu4MOnk01jbAJg1gYxO+CyWSNY54J2Ky42jtjlzdmZEQI2JxewW4X3m8NvtRtfL1Q+Cjaja+Xqh8FNUUCNliKzyXuz73HpbALtMvNArte4/vD9FH8UtFAR/eH6KP4paapBse2HwYOKjvxYudLyVLv37X96Bqild+/a/vRv37X96AtvDH0o9zU1VbbM7fHxXGjn8jUxv37X96Bqild+/a/vRv37X96Bh+A+yocn8TH0a+4V4fO3HiuD9dQ2DO5mPiuLXn8goLGild+/a/vRv37X96BqlLH583Sj/HFXd+/a/vS1kzuObiuNHP1cVBZ0Urvv7X96N+/a/vQNUrLx8f8AB/fHRv37X96XlzufTivMfn8sdBZUUrv37X96N+/a/vQNUrlPiX9lG/ftf3pfKOdzL8VwfroLKild+/a/vRv37X96Bqild+/a/vRv37X96Ayf5h6WX/I9NVWZPzuA8VxsnP1j0zvv7X96Bqild+/a/vRv37X96Aj+8P0UfxS0VHZcWfkx4eKjuw38svLXaD2nHv0UfxS1lpbbJJY2C2yQzm3TWWF4jEuJzI6pjUKb1jjUuRw4YzWpj+8P0UfxS1LFZEXzY0XTi8lVGm66/R6btFB7QXAC8m4XXm68/mbq9UUUCtt4Y+lHuas3l/K8iS2tEtAF0FkMaEoubaaaSJ/KuJQMAgLkHBeGuN1x0lt4Y+lHuapGsaEsTGhLLhYlVJZToKk+kXAaPyoK3Ypa2ksitIzMwkljJYqxGblkQJjGh8IULi/Fhv8ATVxXmOMKoVQFAFwVQAABwAAcAr1QeX4D7KosrWxorHZ3WbNb/ZUYnB5cbyRI8flcF6s3Bp0VevwH2UrZbOrwRh0Vxm1NzAML8N19x9poKLI1un3RkhlZ2GCaRhigeNFEqLZcAQ4o74i4IcC9ozdfcTWpqOOBVLFVVSxxMVABZuC83cJqSgKqLbaESK0vLM0CBwWlQgMowQ6F0HSeAAC8k6NN1W9JWeIM0ysoYGUXqwBB3uLhBoMfZMrziWIPaWLA2YLBihfOx2iedJBIUG+OkKLeVNwaFjwE372oEsUYKlY4wUvCkKowBvOC6NF/puqegKVl4+P+D++OmqVl4+P+D++OgzNuykwktpgtrYYrNIWLtC4jtS3FViUjQEW9WvvF7qNLK12oyfNjhje8NijVsQuN5IGnRQbBHexzUd7C5jhW9hw3E3adIHVU0cYUBVAUDQFAAAHIAKD1SuU+Jf2U1SuU+Jf2UFRlu2XW2COO0sj3h5IS0YjFm8oM7qwvLMblW433reNCvXvYjazJHK4naeIzbw8jI7mLAl7EqB5LOJGW/ThYcAIAuJLIjMGaNGYcDMqkj06CeCuwWVEvCIiXm8hFC3nlN1BLRRRQVjzKllleSUwopmLTAgGNQ8l7gkG672Vm0yhIIrLIbW+I2tUzbSQs+1pZykayRBd8coVQ6QU0t5RU4tZYkBjYMAQZZQQdIIzj6CK9pk+JSpWKMFb8JCqCuLhwm7Rf+VAxRRRQKx/eH6KP4paKI/vD9FH8UtFBE0rC0PhjL71HpvUXeVLy1Ltl9Se0leWYCWQsbgIUJOkXC+a81hJbfM1ikksUkkkJnzoAtDPPCiiERxMzksodhJIy33gMF0XtcG92xJqD2ko2xJqD2kpkV2grbZaHvj3k8aPxJyNTG2X1J7SUW3hj6Ue5qymW7Sj2u0Rx202ZkszJK0k8qrnHERQpFjGBUQEl0w8Zwk47g1e2H1J7SUbYk1B7SUnsVtOOyI1x8+RQxklnEgV3USrJISzIwAYXngYXXi41bUCj2h7jvJ4OclQ2C0PmY95PFr+JOQU+/AfZWW2U2pFsESGVoZJFCQyiWSzrHKU46RlIBVBe2Fr7yAACSKDQ7Yk1J7SUbYk1B7SVnNjmUXa3zLI2cLGYkB5f+njilVYFaInCokiZXVgAThY+VebtbQK7Yk1B7SUtZLQ+ObeTxo/Emriqzqkynao44LU85cRhxizbPG58iEBVZSCCSQOEDTpIF9BY7ZfUntJRtiTUHtJWXyVAZGsaraJZGVTPLLFaJ5IhCjMI7OSGwynGwTEwJZYHv03VsqBXbEmoPaSl5LQ+fTeT5j/iTljqypWXj4/4P746A2y+pPaSjbEmpPaSsTlnKKma0Zi0sgWSOKVJJ5rjJn487IVxXwQKt8ZZbgc4dFygnVbFJmawws5ctg0s5LFriQGDHS6kAFWOkrcTpJoHNsSag9pKXyjaHzL7yeDnJVlSuU+Jf2UBth9Se0lG2H1J7SVQ7IrSu3YIY7QYJyMeJpXWPNnGqpmS2GV3fRdcSApN4IW/mwSWRklxPnIwyKkmee1q8gRc80czgYlLXcGgHFwG8AL/AGxJqD2ko2xJqD2kpqigrMn2h8B3k8bJ+JNY9M7ZfUntJS+NBZpDK5RMcuNwzR4Vzj3tjUgr7QRdWIsVukvjBnlJEsYsuGWZ0nvtjraMBJ3+MQZsXvfcl5Fw00G/2xJqD2ko2xJqD2kpqigRssjGeTEmDeo9F4N+mXkrte4/vD9FH8UtFAR/eH6KP4paapB7SFtD3hzfFH5qSP8Ail9Kg1LuivNl7qfw0DVFK7orzZe6n8NG6K82Xup/DQFt4Y+lHuamqrLZlBb4/Jl40Hip+Rv00zuivNl7qfw0DVFK7orzZe6n8NG6K82Xup/DQMPwH2VDk/iY+jX3CvD5RW4+TLwaqfw1DYMoLmY/Jl4tf9KfkH6aCxopXdFebL3U/ho3RXmy91P4aBqlLH583Sj/ABxV3dFebL3U/hpWyZQXHL5MvGj/AEp9XF+mgtKKV3RXmy91P4aN0V5svdT+GgapWXj4/wCD++OjdFebL3U/hpaTKC59Dhl8x/8ASn5Y/wBNBZ0UruivNl7qfw0borzZe6n8NA1SuU+Jf2UborzZe6n8NLZRygphcYZeDVT+Ggs6KV3RXmy91P4aN0V5svdT+GgaopXdFebL3U/ho3RXmy91P4aAyf5h6WX/ACPTVVtitoVSCso3yQ8VNwM7EHzeQimN0V5svdT+GgaopXdFebL3U/ho3RXmy91P4aAj+8P0UfxS0VHZZw08hAYb3H5yunpl5wF9doPace/RR++Ws2mVLQglRpsTRZQs0V80ceNrPO8KMRmiFAYu5U3EgC4i/SNIovncHSM0guPp0y0uuxuyiPNCyWfN487m82mHOAXB7rvOAAAPoAHJQWIrtFFArbeGPpR7mpqlbbwx9KPc1NUBRRRQeX4D7KhyfxMfRr7hUz8B9lQ5P4mPo19woGKKKKApSx+fN0o/xxU3Slj8+bpR/jioG6KKKApWXj4/4P746apWXj4/4P746BqiiigKVynxL+ymqVynxL+ygaoqqyjbLQryCOHEqwl0IXEWkANy3Y1v03DDovvvxClLLb7aSMdniUZ3Cbr783jhGIeVzHmOnV8A4CGgorPPly2AkDJZIBcBs/HpCC8NddwPwL+fDcNNRTZatocFbBemZDmMkFhKTpjx4gDcLuBeXhoNNRWbbLNtJI2jm1uUh8SzkG/SMAZMRuI9IAuJvPBXVy5bMRG5puvOEmVV0KwAv0HhGn/jTw0GjorO2fLdsJIbJ5QXMQ2NTdcGwrd+I4govvA0k8FxMliyra2mVZLEEjbCMQkDFD5RZjo0i7ALtGkNpN4oLSP7w/RR/FLRRH94foo/ilooIzaUW0PjdVvijuxELf5UvLU26MWuj7a/OpytcwDkFBDujFro+2vzo3Ri10fbX51NgHIKMA5BQIWy3x3x77HxoPnryN+dM7oxa6Ptr86nwDkFcwDkFBDujFro+2vzo3Ri10fbX51NgHIKMA5BQLvlCK477Hwc9fnUNgyhHmY99j4tfxLyD86ewDkFGAcgoId0YtdH21+dG6MWuj7a/OpsA5BRgHIKCHdGLXR9tfnStkt8eOXfY+NH4l1cX51YYByCu4ByCgg3Ri10fbX50boxa6Ptr86mwDkFGAcgoId0YtdH21+dLSW+PPoc7H5j/jXlT86fwDkFdwDkFBBujFro+2vzo3Ri10fbX51NgHIKMA5BQQ7oxa6Ptr86Wyjb4zC4EsfBz1+dP4ByCu4ByCgg3Ri1sfbX50boxa6Ptr86mwDkFGAcgoId0YtdH21+dG6MWtj7a/OpsA5BRgHIKCHdGLXR9tfnRujFrY+2vzqbAOQUYByCgh3Ri1sfbX50boxa6Ptr86mwDkFGAcgoFLNOrTuVZW3uPzSGu0y8lFOAUUH/2Q=="/>
          <p:cNvSpPr>
            <a:spLocks noChangeAspect="1" noChangeArrowheads="1"/>
          </p:cNvSpPr>
          <p:nvPr/>
        </p:nvSpPr>
        <p:spPr bwMode="auto">
          <a:xfrm>
            <a:off x="79375" y="-727075"/>
            <a:ext cx="1828800" cy="1504950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" name="Rectangle 7"/>
          <p:cNvSpPr>
            <a:spLocks noChangeArrowheads="1"/>
          </p:cNvSpPr>
          <p:nvPr/>
        </p:nvSpPr>
        <p:spPr bwMode="gray">
          <a:xfrm>
            <a:off x="152400" y="1219200"/>
            <a:ext cx="9372600" cy="5562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9" tIns="36571" rIns="36571" bIns="36571"/>
          <a:lstStyle/>
          <a:p>
            <a:pPr marL="458788" lvl="1" indent="-457200" algn="just" defTabSz="1019175" eaLnBrk="0" hangingPunct="0">
              <a:buClr>
                <a:schemeClr val="folHlink"/>
              </a:buClr>
              <a:buSzPct val="125000"/>
              <a:buFont typeface="Wingdings" pitchFamily="2" charset="2"/>
              <a:buChar char="§"/>
            </a:pPr>
            <a:endParaRPr lang="en-US" sz="2400" b="1" dirty="0" smtClean="0">
              <a:solidFill>
                <a:schemeClr val="bg2"/>
              </a:solidFill>
            </a:endParaRPr>
          </a:p>
          <a:p>
            <a:pPr marL="1373188" lvl="3" indent="-457200" algn="just" defTabSz="1019175" eaLnBrk="0" hangingPunct="0">
              <a:buClr>
                <a:schemeClr val="folHlink"/>
              </a:buClr>
              <a:buSzPct val="125000"/>
              <a:buFont typeface="Wingdings" pitchFamily="2" charset="2"/>
              <a:buChar char="§"/>
            </a:pPr>
            <a:r>
              <a:rPr lang="en-US" sz="2300" b="1" dirty="0" smtClean="0">
                <a:solidFill>
                  <a:schemeClr val="accent1"/>
                </a:solidFill>
                <a:sym typeface="Wingdings" pitchFamily="2" charset="2"/>
              </a:rPr>
              <a:t>Division XYZ at the Office of the President has historically done a fairly good job of consolidating its approach to risk services</a:t>
            </a:r>
          </a:p>
          <a:p>
            <a:pPr marL="1373188" lvl="3" indent="-457200" algn="just" defTabSz="1019175" eaLnBrk="0" hangingPunct="0">
              <a:buClr>
                <a:schemeClr val="folHlink"/>
              </a:buClr>
              <a:buSzPct val="125000"/>
              <a:buFont typeface="Wingdings" pitchFamily="2" charset="2"/>
              <a:buChar char="§"/>
            </a:pPr>
            <a:endParaRPr lang="en-US" sz="2300" b="1" dirty="0" smtClean="0">
              <a:solidFill>
                <a:schemeClr val="accent1"/>
              </a:solidFill>
              <a:sym typeface="Wingdings" pitchFamily="2" charset="2"/>
            </a:endParaRPr>
          </a:p>
          <a:p>
            <a:pPr marL="1373188" lvl="3" indent="-457200" algn="just" defTabSz="1019175" eaLnBrk="0" hangingPunct="0">
              <a:buClr>
                <a:schemeClr val="folHlink"/>
              </a:buClr>
              <a:buSzPct val="125000"/>
              <a:buFont typeface="Wingdings" pitchFamily="2" charset="2"/>
              <a:buChar char="§"/>
            </a:pPr>
            <a:r>
              <a:rPr lang="en-US" sz="2300" b="1" dirty="0" smtClean="0">
                <a:solidFill>
                  <a:schemeClr val="accent1"/>
                </a:solidFill>
                <a:sym typeface="Wingdings" pitchFamily="2" charset="2"/>
              </a:rPr>
              <a:t>Therefore, they haven’t needed as much consulting from the Office of Risk Services compared to other divisions, departments, and campuses</a:t>
            </a:r>
          </a:p>
          <a:p>
            <a:pPr marL="1373188" lvl="3" indent="-457200" algn="just" defTabSz="1019175" eaLnBrk="0" hangingPunct="0">
              <a:buClr>
                <a:schemeClr val="folHlink"/>
              </a:buClr>
              <a:buSzPct val="125000"/>
              <a:buFont typeface="Wingdings" pitchFamily="2" charset="2"/>
              <a:buChar char="§"/>
            </a:pPr>
            <a:endParaRPr lang="en-US" sz="2300" b="1" dirty="0" smtClean="0">
              <a:solidFill>
                <a:schemeClr val="accent1"/>
              </a:solidFill>
              <a:sym typeface="Wingdings" pitchFamily="2" charset="2"/>
            </a:endParaRPr>
          </a:p>
          <a:p>
            <a:pPr marL="1373188" lvl="3" indent="-457200" algn="just" defTabSz="1019175" eaLnBrk="0" hangingPunct="0">
              <a:buClr>
                <a:schemeClr val="folHlink"/>
              </a:buClr>
              <a:buSzPct val="125000"/>
              <a:buFont typeface="Wingdings" pitchFamily="2" charset="2"/>
              <a:buChar char="§"/>
            </a:pPr>
            <a:r>
              <a:rPr lang="en-US" sz="2300" b="1" dirty="0" smtClean="0">
                <a:solidFill>
                  <a:schemeClr val="accent1"/>
                </a:solidFill>
                <a:sym typeface="Wingdings" pitchFamily="2" charset="2"/>
              </a:rPr>
              <a:t>For a new venture they’re undertaking, they went through extensive due diligence with the Office of General Counsel</a:t>
            </a:r>
          </a:p>
          <a:p>
            <a:pPr marL="1373188" lvl="3" indent="-457200" algn="just" defTabSz="1019175" eaLnBrk="0" hangingPunct="0">
              <a:buClr>
                <a:schemeClr val="folHlink"/>
              </a:buClr>
              <a:buSzPct val="125000"/>
              <a:buFont typeface="Wingdings" pitchFamily="2" charset="2"/>
              <a:buChar char="§"/>
            </a:pPr>
            <a:endParaRPr lang="en-US" sz="2300" b="1" dirty="0" smtClean="0">
              <a:solidFill>
                <a:schemeClr val="accent1"/>
              </a:solidFill>
              <a:sym typeface="Wingdings" pitchFamily="2" charset="2"/>
            </a:endParaRPr>
          </a:p>
          <a:p>
            <a:pPr marL="1373188" lvl="3" indent="-457200" algn="just" defTabSz="1019175" eaLnBrk="0" hangingPunct="0">
              <a:buClr>
                <a:schemeClr val="folHlink"/>
              </a:buClr>
              <a:buSzPct val="125000"/>
              <a:buFont typeface="Wingdings" pitchFamily="2" charset="2"/>
              <a:buChar char="§"/>
            </a:pPr>
            <a:r>
              <a:rPr lang="en-US" sz="2300" b="1" dirty="0" smtClean="0">
                <a:solidFill>
                  <a:schemeClr val="accent1"/>
                </a:solidFill>
                <a:sym typeface="Wingdings" pitchFamily="2" charset="2"/>
              </a:rPr>
              <a:t>After receiving OGC’s advice, they began to implement the new venture</a:t>
            </a:r>
          </a:p>
        </p:txBody>
      </p:sp>
      <p:sp>
        <p:nvSpPr>
          <p:cNvPr id="7" name="Oval 6"/>
          <p:cNvSpPr/>
          <p:nvPr/>
        </p:nvSpPr>
        <p:spPr bwMode="auto">
          <a:xfrm>
            <a:off x="8915400" y="152400"/>
            <a:ext cx="990600" cy="990600"/>
          </a:xfrm>
          <a:prstGeom prst="ellips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8979725" y="404750"/>
            <a:ext cx="87382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Risk</a:t>
            </a:r>
          </a:p>
          <a:p>
            <a:pPr algn="ctr"/>
            <a:r>
              <a:rPr lang="en-US" dirty="0" smtClean="0"/>
              <a:t>Services</a:t>
            </a:r>
            <a:endParaRPr lang="en-US" dirty="0"/>
          </a:p>
        </p:txBody>
      </p:sp>
    </p:spTree>
    <p:custDataLst>
      <p:tags r:id="rId1"/>
    </p:custDataLst>
  </p:cSld>
  <p:clrMapOvr>
    <a:masterClrMapping/>
  </p:clrMapOvr>
  <p:transition xmlns:p14="http://schemas.microsoft.com/office/powerpoint/2010/main">
    <p:cut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Rectangle 2"/>
          <p:cNvSpPr>
            <a:spLocks noGrp="1" noChangeArrowheads="1"/>
          </p:cNvSpPr>
          <p:nvPr>
            <p:ph type="title"/>
          </p:nvPr>
        </p:nvSpPr>
        <p:spPr>
          <a:xfrm>
            <a:off x="762000" y="838200"/>
            <a:ext cx="8153400" cy="304800"/>
          </a:xfrm>
        </p:spPr>
        <p:txBody>
          <a:bodyPr/>
          <a:lstStyle/>
          <a:p>
            <a:pPr lvl="1"/>
            <a:r>
              <a:rPr lang="en-US" sz="2300" dirty="0" smtClean="0"/>
              <a:t>Case Study A:  Part 2 – Two Perspectives</a:t>
            </a:r>
          </a:p>
        </p:txBody>
      </p:sp>
      <p:sp>
        <p:nvSpPr>
          <p:cNvPr id="93188" name="AutoShape 4" descr="data:image/jpg;base64,/9j/4AAQSkZJRgABAQAAAQABAAD/2wCEAAkGBhQSDhQQEA8QEBQUEBkQFA4QFhEQFBAQFBwWFRUQFRQYHycqFxkjGRUTHy8iIycsLCwsFR4xQTIqNSYrLSkBCQoKBQUFDQUFDSkYEhgpKSkpKSkpKSkpKSkpKSkpKSkpKSkpKSkpKSkpKSkpKSkpKSkpKSkpKSkpKSkpKSkpKf/AABEIAMwA9wMBIgACEQEDEQH/xAAbAAACAwEBAQAAAAAAAAAAAAAABAMFBgECB//EAEkQAAIBAQMEDQkIAQMDBQEAAAECAwAEERIFEyFTBhQVIzEzUVJzkZKT0iIyQVRxsbLR0wc0QmFiY3Kis0OBoSR0dRY1NsHCCP/EABQBAQAAAAAAAAAAAAAAAAAAAAD/xAAUEQEAAAAAAAAAAAAAAAAAAAAA/9oADAMBAAIRAxEAPwD7PLaXzhRERrkViWcp5xYXABTzf+a5nJtXF3j/AE67H94foo/ilpqgUzk2ri7x/p0ZybVxd4/06booFM5Nq4u8f6dGcm1cXeP9Om6KBTOTauLvH+nRnJtXF3j/AE6booFM5Nq4u8f6dGcm1cXeP9Om6KBTOTauLvH+nRnJtXF3j/TrL5O+0FpctS5KNjwtCpkefPBlzVyFXC4LyTnI9HovOnRV3YNl1kmWV4bVFKsK4pShLZpdOluTzT1Ggdzk2ri7x/p0ZybVxd4/06rZNnNhWBLQ1tgELsUSYtcjuvnKG4CR/wDR5KnynssslnEZtFqihEq4o84cOcGjzb+HhGj86BvOTauLvH+nRnJtXF3j/TqOfL0CWiOzPMizSrijhN+J106VHpHknqqHZRsijsNjltc2IpGAcK6WdmIVUH5liBQNZybVxd4/06M5Nq4u8f6dYXYr9sAtNshslpsEtia0xCazu7iRZkYMVbzVuDBWuOm8i6qu1f8A9ARLLI0eT55bLHMIXtiuo8psWErGRpvCORew0D0UH07OTauLvH+nRnJtXF3j/TrH7LPtjsNiiVlfbUsiJIlniNzZuRQ6u7Eb2CjAgHSbxo9Ij2WfbNZLEqLcbROwUtZYmF8IYBt8e64EXjRw/kKDaZybVxd4/wBOjOTauLvH+nTQNdoFM5Nq4u8f6dGcm1cXeP8ATpuigUzk2ri7x/p0ZybVxd4/06booFM5Nq4u8f6dGcm1cXeP9Om6KBTOTauLvH+nRnJtXF3j/TpuigWs1oYuyOiqQqterFwQxYelRd5v/NFcj+8P0UfxS0UBH94foo/ilpqlY/vD9FH8UtNUBRRRQFFFFAUUUUBRRRQfJtjv/wA5yh/2Q+Gx1P8AZMdGWf8AyU3/AOqNhViefZPlDKcattUxbWSZlZBLKogVgmIDEAYXvI/Llq+H2evFPa3sVuazJbWMk0LRJNhka/FJC5YYCcR4Qw6hQfNNkf8A8Lyb/wB2nvtNfTPtY2ObcyTMqm6WAbbhN9xDxXkge1cS+0jkrxsk+zGO05Ns+TYp2s8NnZXBwCV3KBlUkkgaS7k6NJPopj/0VO00882UM7JLYmsKnMIiQxu2JmCB/KY/meTkuoEfs0tj5QUZXnW5mgWxwryLHcbTLcDozk4YfxiWtXsgyLBarM0FrQPCbnZWZox5BxAllIIAIv4fRSOwfYtudYlsYmz6ozFHKCMgOS5U3E3+UW06OGvOz/ItoteTZrLZJEiklATHIWVc2SM4pKgnSt44PTQfKNg9lGU9kBtkCFLFk6IQ2cHEd7jVo7OgLabz5chvvI4Dw18/yd/7Ba//ACFl+C019m+znYRlbJ7xwSTZP2mHd5o4gxlkLKbjiMYvN+AcPAt1Ze0fYdlBBNYoJrIbJLaUnz0hkEqiISKgKheG6Q3gX3kDSNNAl9p2S4l2O5JtCwxrK8MKvMqqHdRZxcGYC9rsK3X8F1TfbrkyJLPk2ZIY0kkRs5KiqrS3JBdjYDyrrzw8tbn7QvsymteS7HYbJJENq4VxTlkxIkebB8lW0nQaj+077NrTlGz2KKzvZ1azKwcys6gkrGow4UN+lDw3eig+lrwV2uCu0BRRRQFFFFAUUUUBRRRQKx/eH6KP4paKI/vD9FH8UtFBE8xW0PdG771HpUxi7ypecwqXbjery9cHjoRv+ofoo/ilpLZRY89Y5IlMt7YQDCY8YuZTiukIV1F17KfOUMum+6gd22/q8vXB46NuN6vL1weOvncOxm1XPnLLGpkzUxWJohEjR2aeJogpbyTnGW4C8DH51wJGm2FZJls2ejm0qrJFBKSpaSzIt8eO4+egbNknhzd/poL7bjery9cHjo243q8vXB46ZxjlFUmzHJW2rC9mUm+Ro1xIQGjGcQmUEkaVALcuigstuN6vL1weOjbjery9cHjr53FsZtmcd7TDtgSSvJLEjxYZJpbJCiugZh5CTCdBfcRjVrvSHtj2xy1w2yB5TnUJU2h2dTdaYbKIBaUBN5Ehd1bRffGhu0mg223G9Xl64PHRtxvV5euDx0xjHKK7jHKKBbbbery9cHjo22/q8vXB46zuXtjQmyhFKIUZTZ5xLKSuic7W2uTeb9Gae64XDTzjfl//AEraTHZcVlJzUMEMqE2aQsYbLaonNzOAymWWIAk+jFoABoPpW3G9Xl64PHRtxvV5euDx1NEwwjgGgaL77vyvr3jHKKBbbjery9cHjo22/q8vXB46yez3Y5NaZFay6C9knsssiuEZL83PAwvIv32HBo9ExqqtOxm0GYytZsRlsV7qu12CWyV7TK6B2cFcBmj8pb8QQLwUH0Hbjery9cHjo243q8vXB46zmwTJMsAkzq5lGis6LAWVrpo4gs81ykhcTYRoOnNk+nTrMY5RQLbcb1eXrg8dG239Xl64PHXu1QJIhjkCurC5kPAw5DyivmE2wu07TjWODNynJ1viluaC9rRNm1gQnHdeVQjEOD0kUH0zbjery9cHjo243q8vXB46yWxzIU0dsxPFgRbRaZw+KMqUnWEIoAN+IYXBF1wwfmL9tjHKKBbbjery9cHjo22/q8vXB46YxjlFfPdkWxSeaXKEixK2cezmAERFnwizrI6uXGFQElBQ3Yr7+Sg3W3G9Xl64PHRtxvV5euDx1kth+RZ4bYzzxYFFmkhxhozGzm1TyjNqGJSMxyIVU+aLlvJWtrjHKKBfbjery9cHjo243q8vXB46ZxjlFZjZ3k2SeFBAhkdHMixnNtDI2BkzVoVmXyGDsMS6UNzeigvttt6vL1weOjbjery9cHjr59lLY5aZXtDtZseeezWlAXibMyJaFE0VzPdi2qkIJGgiMjhYg/RbNCkaLGgCqihFUcCqouAH+1AvZZS08l6Mm9x6GwG/TLzWNFSRH/qH6KP4paKCM2ZGtD40Rroo/OUNd5UvLU250Wpj7C/KvMf3h+ij+KWmqBfc6LUx9hflRudFqY+wvypiigrrZk+O+Peo+NH4F5G/KmdzotTH2F+Vebbwx9KPc1NUC+50Wpj7C/Kjc6LUx9hflTFFAq+TorjvMXBzF+VQ2DJ8eZj3qPi1/AvIPyp5+A+yocn8TH0a+4UBudFqY+wvyo3Oi1MfYX5UxRQL7nRamPsL8qVsmT48cu9R8aPwLq4vyqypSx+fN0o/xxUHvc6LUx9hflRudFqY+wvypiigX3Oi1MfYX5UtJk+PPoM1H5j/AIF5Y/yqxpWXj4/4P746D1udFqY+wvyo3Oi1MfYX5UxRQL7nRamPsL8qWyjk+MQvvUfBzF+VWNK5T4l/ZQLSmBbQlnMK45EaRd6GHCmENe911/lDRw03udFqY+wvypa15NdrXDOsiKsSupjKMzPnMN5DhgFuwj8J9NWNAvudFqY+wvyrm50Wpj7C/KmaKCpgssawu+11kIkluREjLNdI9yi+4dZAr3kzMzxCRYFXynQo6IGSSNmjdDdeLwysLwSDdoJFdzLvZpEhlEMjPKFlK5zAxkfysN4vu9tS5GsBhgWIlDhvF8augN5JvON3JY33lixJJJ9NBLudFqY+wvyo3Oi1MfYX5UxRQJWaBVncIqrvUfmgLfpl5KK9x/eH6KP4paKAj+8P0UfxS01Ve9mDWhyS4uiTzXkT8UvoUi+oMmzQzhs29ovRgrJI1rhdSQGF6SEG4ggg3XUFvRSu5y86XvZ/FRucvOl72fxUBbeGPpR7mpqqy2ZPW+PypeNA42fkb9Vcvhz+1s7Jnc0Zs3nbReIwQuI+Vo0kDTw6eQ0FpRSu5y86XvZ/FRucvOl72fxUDD8B9lQ5P4mPo19wrw+TluPlS8Gtn8VVrSwwwQmRrR5YVFWM2yZmbAXICR4j5qseD0UF7RSi5PUi/FN/vLOP+MVd3OXnS97P4qBqlLH583Sj/HFXdzl50vez+KkM1HGJ5JJJFRJLyxln0DNxcjaT/wA0FzRSFmsySIHU2gAi8B3tUTf7o5BH+4qXc5edL3s/ioGqVl4+P+D++Ojc5edL3s/ipaTJ655Bil8x/wDVn5Y/1UFnRVPHaIWtG18VqElzMA+3UVlQqGZZGuVgC68BPnCntzl50vez+KgapXKfEv7KNzl50vez+Klso5PUQucUvBrZ/FQWdFU9qtMEcqxPLMHbDoD2pgucYpHjcG5MTgquIi8i4U9ucvOl72fxUDVcpbc5edL3s/io3OXnS97P4qAyd5h6WX/I9NVTJHFFA8skkqqskhLZ2c6BI40ANeSdAuGkk1PYFimjzkbzFbyumS0oyspKsrKzAqQQRcRQWVFK7nLzpe9n8VG5y86XvZ/FQEf3h+ij+KWio7LAFnkALHe4/OZ39MvOJurtB6Xj5LuHNJdfy3y0lkDJskbTySiNDNKJc1E7zKpwqrNnHVSSSOC64AC7009H94foo/ilpqgKKKKBW28MfSj3NVbZ9jWC37aWWQqyTY43IN8kpgII8m/CFhu0nRhQDQKsrbwx9KPc1NUBRRRQeX4D7KoMsZJe0WKJI0jZwgKSSSSwmBzGUEyNGpJYYjovF950ir9+A+yocn8TH0a+4UEsSkKATiIABY6MRHpr3RRQFUeVcmG0Q2iJSt+fjkAYsqsYhZ5QjFdIDYMJI0gG/TV5Slj8+bpR/jioIcgWB4bOI5CCcbsFVmdY0d2dIVZgCyopCgkDzeADQLGiigKVl4+P+D++OmqVl4+P+D++OghsuTmFpltEhUllWKIC/e4VGI33/iaRmJu9Cx8lWFFFAUrlPiX9lNUrlPiX9lBTZY2OSS22O0KUAXM3MWdWjzUrSSDNgXTB1KqMZGAriGmtHRRQFFFFBVS2ITWWWIqHxPLcpZovLEjlTnFBKEMAcQBIuvr1seyU0EJV2xO8rzOcTP5TknDiYAtcMIvuF919w4Azk7zD0sv+R6aoCiiigVj+8P0UfxS0UR/eH6KP4paKCJoS1oe6R03qPQojN/lS85TUu1G18vVD4KE49+ij+KWsFbYGay3CK1OBugIQ8dqZ1tkkoexS+WMQOAvhkOhb+EGg3u1G18vVD4KNqNr5eqHwUyvBprtBWWyytfHv8vGj0Q8jfopnaja+Xqh8FFt4Y+lHuaqdyBb7ViFpwtYogWUWrDiUzYhEyi4NhePRGcRJ5RQXG1G18vVD4KNqNr5eqHwUpsVJ3PswYOrCzRqyyK6OHVQrBlYAg3g8NWtAo9ka47/LwckPgqGwWVszHv8ALxa+iHkH6KffgPsrPZe+4QECYkTWV7oRM5uWSJnLLECSuAOSCLtHsoLnaja+Xqh8FG1G18vVD4KpMlopynM6QyQ4Y2jYmKZBanLIzTNIVwsFuCppJ8qT8N1+loFdqNr5eqHwUrZLK2Obf5eNHoh1cX6KtKrZLsFpxY7sRvzecx3ZqPzc35V/8dNAxtRtfL1Q+Cjaja+Xqh8FZGzw4hkwiGXPpHCJC0FoSQRqjKwM7ACNVbGWQ6X8kaL1v3FArtRtfL1Q+ClpLK2fTf5fMf0Q8sf6Ks6Vl4+P+D++OgNqNr5eqHwUbUbXy9UPgrP2mKZrZa0s+cUvHZ/LlNpjjuUy55YZSrBWwsnmaAWvuvvqz2IxOuTrMsqlHWzorIS5KkKBccQBvuuvvHDfw8NA7tRtfL1Q+Clso2Vsy+/y8HJD4Ks6VynxL+ygNqNr5eqHwUbUbXy9UPgqpyyP+vg4+42edGZFndFxBMN4UFQ2hrr9Po9NR7BYM3Z3jCAIkgRJhDJZWtCiOO+V45NOLFiUn04KC62o2vl6ofBRtRtfL1Q+CmqKCssFlbAd/l42T0Q6x/0UztRtfL1Q+CoobsxJixXY5r8GPFdjkvw4PKvu4MOnk01jbAJg1gYxO+CyWSNY54J2Ky42jtjlzdmZEQI2JxewW4X3m8NvtRtfL1Q+Cjaja+Xqh8FNUUCNliKzyXuz73HpbALtMvNArte4/vD9FH8UtFAR/eH6KP4paapBse2HwYOKjvxYudLyVLv37X96Bqild+/a/vRv37X96AtvDH0o9zU1VbbM7fHxXGjn8jUxv37X96Bqild+/a/vRv37X96Bh+A+yocn8TH0a+4V4fO3HiuD9dQ2DO5mPiuLXn8goLGild+/a/vRv37X96BqlLH583Sj/HFXd+/a/vS1kzuObiuNHP1cVBZ0Urvv7X96N+/a/vQNUrLx8f8AB/fHRv37X96XlzufTivMfn8sdBZUUrv37X96N+/a/vQNUrlPiX9lG/ftf3pfKOdzL8VwfroLKild+/a/vRv37X96Bqild+/a/vRv37X96Ayf5h6WX/I9NVWZPzuA8VxsnP1j0zvv7X96Bqild+/a/vRv37X96Aj+8P0UfxS0VHZcWfkx4eKjuw38svLXaD2nHv0UfxS1lpbbJJY2C2yQzm3TWWF4jEuJzI6pjUKb1jjUuRw4YzWpj+8P0UfxS1LFZEXzY0XTi8lVGm66/R6btFB7QXAC8m4XXm68/mbq9UUUCtt4Y+lHuas3l/K8iS2tEtAF0FkMaEoubaaaSJ/KuJQMAgLkHBeGuN1x0lt4Y+lHuapGsaEsTGhLLhYlVJZToKk+kXAaPyoK3Ypa2ksitIzMwkljJYqxGblkQJjGh8IULi/Fhv8ATVxXmOMKoVQFAFwVQAABwAAcAr1QeX4D7KosrWxorHZ3WbNb/ZUYnB5cbyRI8flcF6s3Bp0VevwH2UrZbOrwRh0Vxm1NzAML8N19x9poKLI1un3RkhlZ2GCaRhigeNFEqLZcAQ4o74i4IcC9ozdfcTWpqOOBVLFVVSxxMVABZuC83cJqSgKqLbaESK0vLM0CBwWlQgMowQ6F0HSeAAC8k6NN1W9JWeIM0ysoYGUXqwBB3uLhBoMfZMrziWIPaWLA2YLBihfOx2iedJBIUG+OkKLeVNwaFjwE372oEsUYKlY4wUvCkKowBvOC6NF/puqegKVl4+P+D++OmqVl4+P+D++OgzNuykwktpgtrYYrNIWLtC4jtS3FViUjQEW9WvvF7qNLK12oyfNjhje8NijVsQuN5IGnRQbBHexzUd7C5jhW9hw3E3adIHVU0cYUBVAUDQFAAAHIAKD1SuU+Jf2U1SuU+Jf2UFRlu2XW2COO0sj3h5IS0YjFm8oM7qwvLMblW433reNCvXvYjazJHK4naeIzbw8jI7mLAl7EqB5LOJGW/ThYcAIAuJLIjMGaNGYcDMqkj06CeCuwWVEvCIiXm8hFC3nlN1BLRRRQVjzKllleSUwopmLTAgGNQ8l7gkG672Vm0yhIIrLIbW+I2tUzbSQs+1pZykayRBd8coVQ6QU0t5RU4tZYkBjYMAQZZQQdIIzj6CK9pk+JSpWKMFb8JCqCuLhwm7Rf+VAxRRRQKx/eH6KP4paKI/vD9FH8UtFBE0rC0PhjL71HpvUXeVLy1Ltl9Se0leWYCWQsbgIUJOkXC+a81hJbfM1ikksUkkkJnzoAtDPPCiiERxMzksodhJIy33gMF0XtcG92xJqD2ko2xJqD2kpkV2grbZaHvj3k8aPxJyNTG2X1J7SUW3hj6Ue5qymW7Sj2u0Rx202ZkszJK0k8qrnHERQpFjGBUQEl0w8Zwk47g1e2H1J7SUbYk1B7SUnsVtOOyI1x8+RQxklnEgV3USrJISzIwAYXngYXXi41bUCj2h7jvJ4OclQ2C0PmY95PFr+JOQU+/AfZWW2U2pFsESGVoZJFCQyiWSzrHKU46RlIBVBe2Fr7yAACSKDQ7Yk1J7SUbYk1B7SVnNjmUXa3zLI2cLGYkB5f+njilVYFaInCokiZXVgAThY+VebtbQK7Yk1B7SUtZLQ+ObeTxo/Emriqzqkynao44LU85cRhxizbPG58iEBVZSCCSQOEDTpIF9BY7ZfUntJRtiTUHtJWXyVAZGsaraJZGVTPLLFaJ5IhCjMI7OSGwynGwTEwJZYHv03VsqBXbEmoPaSl5LQ+fTeT5j/iTljqypWXj4/4P746A2y+pPaSjbEmpPaSsTlnKKma0Zi0sgWSOKVJJ5rjJn487IVxXwQKt8ZZbgc4dFygnVbFJmawws5ctg0s5LFriQGDHS6kAFWOkrcTpJoHNsSag9pKXyjaHzL7yeDnJVlSuU+Jf2UBth9Se0lG2H1J7SVQ7IrSu3YIY7QYJyMeJpXWPNnGqpmS2GV3fRdcSApN4IW/mwSWRklxPnIwyKkmee1q8gRc80czgYlLXcGgHFwG8AL/AGxJqD2ko2xJqD2kpqigrMn2h8B3k8bJ+JNY9M7ZfUntJS+NBZpDK5RMcuNwzR4Vzj3tjUgr7QRdWIsVukvjBnlJEsYsuGWZ0nvtjraMBJ3+MQZsXvfcl5Fw00G/2xJqD2ko2xJqD2kpqigRssjGeTEmDeo9F4N+mXkrte4/vD9FH8UtFAR/eH6KP4paapB7SFtD3hzfFH5qSP8Ail9Kg1LuivNl7qfw0DVFK7orzZe6n8NG6K82Xup/DQFt4Y+lHuamqrLZlBb4/Jl40Hip+Rv00zuivNl7qfw0DVFK7orzZe6n8NG6K82Xup/DQMPwH2VDk/iY+jX3CvD5RW4+TLwaqfw1DYMoLmY/Jl4tf9KfkH6aCxopXdFebL3U/ho3RXmy91P4aBqlLH583Sj/ABxV3dFebL3U/hpWyZQXHL5MvGj/AEp9XF+mgtKKV3RXmy91P4aN0V5svdT+GgapWXj4/wCD++OjdFebL3U/hpaTKC59Dhl8x/8ASn5Y/wBNBZ0UruivNl7qfw0borzZe6n8NA1SuU+Jf2UborzZe6n8NLZRygphcYZeDVT+Ggs6KV3RXmy91P4aN0V5svdT+GgaopXdFebL3U/ho3RXmy91P4aAyf5h6WX/ACPTVVtitoVSCso3yQ8VNwM7EHzeQimN0V5svdT+GgaopXdFebL3U/ho3RXmy91P4aAj+8P0UfxS0VHZZw08hAYb3H5yunpl5wF9doPace/RR++Ws2mVLQglRpsTRZQs0V80ceNrPO8KMRmiFAYu5U3EgC4i/SNIovncHSM0guPp0y0uuxuyiPNCyWfN487m82mHOAXB7rvOAAAPoAHJQWIrtFFArbeGPpR7mpqlbbwx9KPc1NUBRRRQeX4D7KhyfxMfRr7hUz8B9lQ5P4mPo19woGKKKKApSx+fN0o/xxU3Slj8+bpR/jioG6KKKApWXj4/4P746apWXj4/4P746BqiiigKVynxL+ymqVynxL+ygaoqqyjbLQryCOHEqwl0IXEWkANy3Y1v03DDovvvxClLLb7aSMdniUZ3Cbr783jhGIeVzHmOnV8A4CGgorPPly2AkDJZIBcBs/HpCC8NddwPwL+fDcNNRTZatocFbBemZDmMkFhKTpjx4gDcLuBeXhoNNRWbbLNtJI2jm1uUh8SzkG/SMAZMRuI9IAuJvPBXVy5bMRG5puvOEmVV0KwAv0HhGn/jTw0GjorO2fLdsJIbJ5QXMQ2NTdcGwrd+I4govvA0k8FxMliyra2mVZLEEjbCMQkDFD5RZjo0i7ALtGkNpN4oLSP7w/RR/FLRRH94foo/ilooIzaUW0PjdVvijuxELf5UvLU26MWuj7a/OpytcwDkFBDujFro+2vzo3Ri10fbX51NgHIKMA5BQIWy3x3x77HxoPnryN+dM7oxa6Ptr86nwDkFcwDkFBDujFro+2vzo3Ri10fbX51NgHIKMA5BQLvlCK477Hwc9fnUNgyhHmY99j4tfxLyD86ewDkFGAcgoId0YtdH21+dG6MWuj7a/OpsA5BRgHIKCHdGLXR9tfnStkt8eOXfY+NH4l1cX51YYByCu4ByCgg3Ri10fbX50boxa6Ptr86mwDkFGAcgoId0YtdH21+dLSW+PPoc7H5j/jXlT86fwDkFdwDkFBBujFro+2vzo3Ri10fbX51NgHIKMA5BQQ7oxa6Ptr86Wyjb4zC4EsfBz1+dP4ByCu4ByCgg3Ri1sfbX50boxa6Ptr86mwDkFGAcgoId0YtdH21+dG6MWtj7a/OpsA5BRgHIKCHdGLXR9tfnRujFrY+2vzqbAOQUYByCgh3Ri1sfbX50boxa6Ptr86mwDkFGAcgoFLNOrTuVZW3uPzSGu0y8lFOAUUH/2Q=="/>
          <p:cNvSpPr>
            <a:spLocks noChangeAspect="1" noChangeArrowheads="1"/>
          </p:cNvSpPr>
          <p:nvPr/>
        </p:nvSpPr>
        <p:spPr bwMode="auto">
          <a:xfrm>
            <a:off x="79375" y="-727075"/>
            <a:ext cx="1828800" cy="1504950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Oval 6"/>
          <p:cNvSpPr/>
          <p:nvPr/>
        </p:nvSpPr>
        <p:spPr bwMode="auto">
          <a:xfrm>
            <a:off x="8915400" y="152400"/>
            <a:ext cx="990600" cy="990600"/>
          </a:xfrm>
          <a:prstGeom prst="ellips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5486400" y="2105085"/>
            <a:ext cx="3581400" cy="4524315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noAutofit/>
          </a:bodyPr>
          <a:lstStyle/>
          <a:p>
            <a:pPr marL="225425" indent="-225425">
              <a:buClr>
                <a:schemeClr val="bg2"/>
              </a:buClr>
              <a:buSzPct val="125000"/>
              <a:buFont typeface="Wingdings" pitchFamily="2" charset="2"/>
              <a:buChar char="§"/>
            </a:pPr>
            <a:r>
              <a:rPr lang="en-US" sz="1800" dirty="0" smtClean="0">
                <a:solidFill>
                  <a:schemeClr val="bg1"/>
                </a:solidFill>
              </a:rPr>
              <a:t>We have a great track record; after all, we are one of the few divisions out there that has already consolidated its approach to risk management</a:t>
            </a:r>
          </a:p>
          <a:p>
            <a:pPr>
              <a:buClr>
                <a:schemeClr val="bg2"/>
              </a:buClr>
              <a:buSzPct val="125000"/>
              <a:buFont typeface="Wingdings" pitchFamily="2" charset="2"/>
              <a:buChar char="§"/>
            </a:pPr>
            <a:endParaRPr lang="en-US" sz="1800" dirty="0" smtClean="0">
              <a:solidFill>
                <a:schemeClr val="bg1"/>
              </a:solidFill>
            </a:endParaRPr>
          </a:p>
          <a:p>
            <a:pPr marL="225425" indent="-225425">
              <a:buClr>
                <a:schemeClr val="bg2"/>
              </a:buClr>
              <a:buSzPct val="125000"/>
              <a:buFont typeface="Wingdings" pitchFamily="2" charset="2"/>
              <a:buChar char="§"/>
            </a:pPr>
            <a:r>
              <a:rPr lang="en-US" sz="1800" dirty="0" smtClean="0">
                <a:solidFill>
                  <a:schemeClr val="bg1"/>
                </a:solidFill>
              </a:rPr>
              <a:t>OGC is conservative; whatever they say must be a safe route.  They are lawyers after all!</a:t>
            </a:r>
          </a:p>
          <a:p>
            <a:pPr>
              <a:buClr>
                <a:schemeClr val="bg2"/>
              </a:buClr>
              <a:buSzPct val="125000"/>
              <a:buFont typeface="Wingdings" pitchFamily="2" charset="2"/>
              <a:buChar char="§"/>
            </a:pPr>
            <a:endParaRPr lang="en-US" sz="1800" dirty="0" smtClean="0">
              <a:solidFill>
                <a:schemeClr val="bg1"/>
              </a:solidFill>
            </a:endParaRPr>
          </a:p>
          <a:p>
            <a:pPr marL="225425" indent="-225425">
              <a:buClr>
                <a:schemeClr val="bg2"/>
              </a:buClr>
              <a:buSzPct val="125000"/>
              <a:buFont typeface="Wingdings" pitchFamily="2" charset="2"/>
              <a:buChar char="§"/>
            </a:pPr>
            <a:r>
              <a:rPr lang="en-US" sz="1800" dirty="0" smtClean="0">
                <a:solidFill>
                  <a:schemeClr val="bg1"/>
                </a:solidFill>
              </a:rPr>
              <a:t>Why should we loop in yet another office, when that is probably just going to slow down the whole implementation?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1524000" y="2105085"/>
            <a:ext cx="3581400" cy="4524315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noAutofit/>
          </a:bodyPr>
          <a:lstStyle/>
          <a:p>
            <a:pPr marL="225425" indent="-225425">
              <a:buClr>
                <a:schemeClr val="bg2"/>
              </a:buClr>
              <a:buSzPct val="125000"/>
              <a:buFont typeface="Wingdings" pitchFamily="2" charset="2"/>
              <a:buChar char="§"/>
            </a:pPr>
            <a:r>
              <a:rPr lang="en-US" sz="1800" dirty="0" smtClean="0">
                <a:solidFill>
                  <a:schemeClr val="bg1"/>
                </a:solidFill>
              </a:rPr>
              <a:t>There are so many risk aspects to this new venture, not all of them legal</a:t>
            </a:r>
          </a:p>
          <a:p>
            <a:pPr>
              <a:buClr>
                <a:schemeClr val="bg2"/>
              </a:buClr>
              <a:buSzPct val="125000"/>
              <a:buFont typeface="Wingdings" pitchFamily="2" charset="2"/>
              <a:buChar char="§"/>
            </a:pPr>
            <a:endParaRPr lang="en-US" sz="1800" dirty="0" smtClean="0">
              <a:solidFill>
                <a:schemeClr val="bg1"/>
              </a:solidFill>
            </a:endParaRPr>
          </a:p>
          <a:p>
            <a:pPr marL="225425" indent="-225425">
              <a:buClr>
                <a:schemeClr val="bg2"/>
              </a:buClr>
              <a:buSzPct val="125000"/>
              <a:buFont typeface="Wingdings" pitchFamily="2" charset="2"/>
              <a:buChar char="§"/>
            </a:pPr>
            <a:r>
              <a:rPr lang="en-US" sz="1800" dirty="0" smtClean="0">
                <a:solidFill>
                  <a:schemeClr val="bg1"/>
                </a:solidFill>
              </a:rPr>
              <a:t>Yes, this division handles risk management well, but that doesn’t negate the need for consultation with folks who live and breathe risk everyday</a:t>
            </a:r>
          </a:p>
          <a:p>
            <a:pPr>
              <a:buClr>
                <a:schemeClr val="bg2"/>
              </a:buClr>
              <a:buSzPct val="125000"/>
              <a:buFont typeface="Wingdings" pitchFamily="2" charset="2"/>
              <a:buChar char="§"/>
            </a:pPr>
            <a:endParaRPr lang="en-US" sz="1800" dirty="0" smtClean="0">
              <a:solidFill>
                <a:schemeClr val="bg1"/>
              </a:solidFill>
            </a:endParaRPr>
          </a:p>
          <a:p>
            <a:pPr marL="225425" indent="-225425">
              <a:buClr>
                <a:schemeClr val="bg2"/>
              </a:buClr>
              <a:buSzPct val="125000"/>
              <a:buFont typeface="Wingdings" pitchFamily="2" charset="2"/>
              <a:buChar char="§"/>
            </a:pPr>
            <a:r>
              <a:rPr lang="en-US" sz="1800" dirty="0" smtClean="0">
                <a:solidFill>
                  <a:schemeClr val="bg1"/>
                </a:solidFill>
              </a:rPr>
              <a:t>There are so many great tools applicable to this particular venture that this division doesn’t even know about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524000" y="1607125"/>
            <a:ext cx="3581400" cy="409700"/>
          </a:xfrm>
          <a:prstGeom prst="rect">
            <a:avLst/>
          </a:prstGeom>
          <a:solidFill>
            <a:schemeClr val="bg2"/>
          </a:solidFill>
        </p:spPr>
        <p:txBody>
          <a:bodyPr wrap="square" rtlCol="0" anchor="ctr">
            <a:noAutofit/>
          </a:bodyPr>
          <a:lstStyle/>
          <a:p>
            <a:pPr marL="225425" indent="-225425" algn="ctr">
              <a:buClr>
                <a:schemeClr val="bg2"/>
              </a:buClr>
              <a:buSzPct val="125000"/>
            </a:pPr>
            <a:r>
              <a:rPr lang="en-US" sz="1600" b="1" dirty="0" smtClean="0">
                <a:solidFill>
                  <a:schemeClr val="bg1"/>
                </a:solidFill>
              </a:rPr>
              <a:t>Situation from </a:t>
            </a:r>
            <a:r>
              <a:rPr lang="en-US" sz="1600" b="1" dirty="0" smtClean="0">
                <a:solidFill>
                  <a:srgbClr val="FFC000"/>
                </a:solidFill>
              </a:rPr>
              <a:t>Our </a:t>
            </a:r>
            <a:r>
              <a:rPr lang="en-US" sz="1600" b="1" dirty="0" smtClean="0">
                <a:solidFill>
                  <a:schemeClr val="bg1"/>
                </a:solidFill>
              </a:rPr>
              <a:t>Perspective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5486400" y="1600200"/>
            <a:ext cx="3581400" cy="409700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 wrap="square" rtlCol="0" anchor="ctr">
            <a:noAutofit/>
          </a:bodyPr>
          <a:lstStyle/>
          <a:p>
            <a:pPr marL="225425" indent="-225425" algn="ctr">
              <a:buClr>
                <a:schemeClr val="bg2"/>
              </a:buClr>
              <a:buSzPct val="125000"/>
            </a:pPr>
            <a:r>
              <a:rPr lang="en-US" sz="1600" b="1" dirty="0" smtClean="0">
                <a:solidFill>
                  <a:schemeClr val="bg1"/>
                </a:solidFill>
              </a:rPr>
              <a:t>Situation from </a:t>
            </a:r>
            <a:r>
              <a:rPr lang="en-US" sz="1600" b="1" dirty="0" smtClean="0">
                <a:solidFill>
                  <a:srgbClr val="FFC000"/>
                </a:solidFill>
              </a:rPr>
              <a:t>Their</a:t>
            </a:r>
            <a:r>
              <a:rPr lang="en-US" sz="1600" b="1" dirty="0" smtClean="0">
                <a:solidFill>
                  <a:schemeClr val="bg1"/>
                </a:solidFill>
              </a:rPr>
              <a:t> Perspective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8979725" y="404750"/>
            <a:ext cx="87382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Risk</a:t>
            </a:r>
          </a:p>
          <a:p>
            <a:pPr algn="ctr"/>
            <a:r>
              <a:rPr lang="en-US" dirty="0" smtClean="0"/>
              <a:t>Services</a:t>
            </a:r>
            <a:endParaRPr lang="en-US" dirty="0"/>
          </a:p>
        </p:txBody>
      </p:sp>
    </p:spTree>
    <p:custDataLst>
      <p:tags r:id="rId1"/>
    </p:custDataLst>
  </p:cSld>
  <p:clrMapOvr>
    <a:masterClrMapping/>
  </p:clrMapOvr>
  <p:transition xmlns:p14="http://schemas.microsoft.com/office/powerpoint/2010/main">
    <p:cut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Rectangle 2"/>
          <p:cNvSpPr>
            <a:spLocks noGrp="1" noChangeArrowheads="1"/>
          </p:cNvSpPr>
          <p:nvPr>
            <p:ph type="title"/>
          </p:nvPr>
        </p:nvSpPr>
        <p:spPr>
          <a:xfrm>
            <a:off x="762000" y="838200"/>
            <a:ext cx="8153400" cy="304800"/>
          </a:xfrm>
        </p:spPr>
        <p:txBody>
          <a:bodyPr/>
          <a:lstStyle/>
          <a:p>
            <a:pPr lvl="1"/>
            <a:r>
              <a:rPr lang="en-US" sz="2300" dirty="0" smtClean="0"/>
              <a:t>Case Study A:  Part 3 – Two Layers of Learning</a:t>
            </a:r>
          </a:p>
        </p:txBody>
      </p:sp>
      <p:sp>
        <p:nvSpPr>
          <p:cNvPr id="93188" name="AutoShape 4" descr="data:image/jpg;base64,/9j/4AAQSkZJRgABAQAAAQABAAD/2wCEAAkGBhQSDhQQEA8QEBQUEBkQFA4QFhEQFBAQFBwWFRUQFRQYHycqFxkjGRUTHy8iIycsLCwsFR4xQTIqNSYrLSkBCQoKBQUFDQUFDSkYEhgpKSkpKSkpKSkpKSkpKSkpKSkpKSkpKSkpKSkpKSkpKSkpKSkpKSkpKSkpKSkpKSkpKf/AABEIAMwA9wMBIgACEQEDEQH/xAAbAAACAwEBAQAAAAAAAAAAAAAABAMFBgECB//EAEkQAAIBAQMEDQkIAQMDBQEAAAECAwAEERIFEyFTBhQVIzEzUVJzkZKT0iIyQVRxsbLR0wc0QmFiY3Kis0OBoSR0dRY1NsHCCP/EABQBAQAAAAAAAAAAAAAAAAAAAAD/xAAUEQEAAAAAAAAAAAAAAAAAAAAA/9oADAMBAAIRAxEAPwD7PLaXzhRERrkViWcp5xYXABTzf+a5nJtXF3j/AE67H94foo/ilpqgUzk2ri7x/p0ZybVxd4/06booFM5Nq4u8f6dGcm1cXeP9Om6KBTOTauLvH+nRnJtXF3j/AE6booFM5Nq4u8f6dGcm1cXeP9Om6KBTOTauLvH+nRnJtXF3j/TrL5O+0FpctS5KNjwtCpkefPBlzVyFXC4LyTnI9HovOnRV3YNl1kmWV4bVFKsK4pShLZpdOluTzT1Ggdzk2ri7x/p0ZybVxd4/06rZNnNhWBLQ1tgELsUSYtcjuvnKG4CR/wDR5KnynssslnEZtFqihEq4o84cOcGjzb+HhGj86BvOTauLvH+nRnJtXF3j/TqOfL0CWiOzPMizSrijhN+J106VHpHknqqHZRsijsNjltc2IpGAcK6WdmIVUH5liBQNZybVxd4/06M5Nq4u8f6dYXYr9sAtNshslpsEtia0xCazu7iRZkYMVbzVuDBWuOm8i6qu1f8A9ARLLI0eT55bLHMIXtiuo8psWErGRpvCORew0D0UH07OTauLvH+nRnJtXF3j/TrH7LPtjsNiiVlfbUsiJIlniNzZuRQ6u7Eb2CjAgHSbxo9Ij2WfbNZLEqLcbROwUtZYmF8IYBt8e64EXjRw/kKDaZybVxd4/wBOjOTauLvH+nTQNdoFM5Nq4u8f6dGcm1cXeP8ATpuigUzk2ri7x/p0ZybVxd4/06booFM5Nq4u8f6dGcm1cXeP9Om6KBTOTauLvH+nRnJtXF3j/TpuigWs1oYuyOiqQqterFwQxYelRd5v/NFcj+8P0UfxS0UBH94foo/ilpqlY/vD9FH8UtNUBRRRQFFFFAUUUUBRRRQfJtjv/wA5yh/2Q+Gx1P8AZMdGWf8AyU3/AOqNhViefZPlDKcattUxbWSZlZBLKogVgmIDEAYXvI/Llq+H2evFPa3sVuazJbWMk0LRJNhka/FJC5YYCcR4Qw6hQfNNkf8A8Lyb/wB2nvtNfTPtY2ObcyTMqm6WAbbhN9xDxXkge1cS+0jkrxsk+zGO05Ns+TYp2s8NnZXBwCV3KBlUkkgaS7k6NJPopj/0VO00882UM7JLYmsKnMIiQxu2JmCB/KY/meTkuoEfs0tj5QUZXnW5mgWxwryLHcbTLcDozk4YfxiWtXsgyLBarM0FrQPCbnZWZox5BxAllIIAIv4fRSOwfYtudYlsYmz6ozFHKCMgOS5U3E3+UW06OGvOz/ItoteTZrLZJEiklATHIWVc2SM4pKgnSt44PTQfKNg9lGU9kBtkCFLFk6IQ2cHEd7jVo7OgLabz5chvvI4Dw18/yd/7Ba//ACFl+C019m+znYRlbJ7xwSTZP2mHd5o4gxlkLKbjiMYvN+AcPAt1Ze0fYdlBBNYoJrIbJLaUnz0hkEqiISKgKheG6Q3gX3kDSNNAl9p2S4l2O5JtCwxrK8MKvMqqHdRZxcGYC9rsK3X8F1TfbrkyJLPk2ZIY0kkRs5KiqrS3JBdjYDyrrzw8tbn7QvsymteS7HYbJJENq4VxTlkxIkebB8lW0nQaj+077NrTlGz2KKzvZ1azKwcys6gkrGow4UN+lDw3eig+lrwV2uCu0BRRRQFFFFAUUUUBRRRQKx/eH6KP4paKI/vD9FH8UtFBE8xW0PdG771HpUxi7ypecwqXbjery9cHjoRv+ofoo/ilpLZRY89Y5IlMt7YQDCY8YuZTiukIV1F17KfOUMum+6gd22/q8vXB46NuN6vL1weOvncOxm1XPnLLGpkzUxWJohEjR2aeJogpbyTnGW4C8DH51wJGm2FZJls2ejm0qrJFBKSpaSzIt8eO4+egbNknhzd/poL7bjery9cHjo243q8vXB46ZxjlFUmzHJW2rC9mUm+Ro1xIQGjGcQmUEkaVALcuigstuN6vL1weOjbjery9cHjr53FsZtmcd7TDtgSSvJLEjxYZJpbJCiugZh5CTCdBfcRjVrvSHtj2xy1w2yB5TnUJU2h2dTdaYbKIBaUBN5Ehd1bRffGhu0mg223G9Xl64PHRtxvV5euDx0xjHKK7jHKKBbbbery9cHjo22/q8vXB46zuXtjQmyhFKIUZTZ5xLKSuic7W2uTeb9Gae64XDTzjfl//AEraTHZcVlJzUMEMqE2aQsYbLaonNzOAymWWIAk+jFoABoPpW3G9Xl64PHRtxvV5euDx1NEwwjgGgaL77vyvr3jHKKBbbjery9cHjo22/q8vXB46yez3Y5NaZFay6C9knsssiuEZL83PAwvIv32HBo9ExqqtOxm0GYytZsRlsV7qu12CWyV7TK6B2cFcBmj8pb8QQLwUH0Hbjery9cHjo243q8vXB46zmwTJMsAkzq5lGis6LAWVrpo4gs81ykhcTYRoOnNk+nTrMY5RQLbcb1eXrg8dG239Xl64PHXu1QJIhjkCurC5kPAw5DyivmE2wu07TjWODNynJ1viluaC9rRNm1gQnHdeVQjEOD0kUH0zbjery9cHjo243q8vXB46yWxzIU0dsxPFgRbRaZw+KMqUnWEIoAN+IYXBF1wwfmL9tjHKKBbbjery9cHjo22/q8vXB46YxjlFfPdkWxSeaXKEixK2cezmAERFnwizrI6uXGFQElBQ3Yr7+Sg3W3G9Xl64PHRtxvV5euDx1kth+RZ4bYzzxYFFmkhxhozGzm1TyjNqGJSMxyIVU+aLlvJWtrjHKKBfbjery9cHjo243q8vXB46ZxjlFZjZ3k2SeFBAhkdHMixnNtDI2BkzVoVmXyGDsMS6UNzeigvttt6vL1weOjbjery9cHjr59lLY5aZXtDtZseeezWlAXibMyJaFE0VzPdi2qkIJGgiMjhYg/RbNCkaLGgCqihFUcCqouAH+1AvZZS08l6Mm9x6GwG/TLzWNFSRH/qH6KP4paKCM2ZGtD40Rroo/OUNd5UvLU250Wpj7C/KvMf3h+ij+KWmqBfc6LUx9hflRudFqY+wvypiigrrZk+O+Peo+NH4F5G/KmdzotTH2F+Vebbwx9KPc1NUC+50Wpj7C/Kjc6LUx9hflTFFAq+TorjvMXBzF+VQ2DJ8eZj3qPi1/AvIPyp5+A+yocn8TH0a+4UBudFqY+wvyo3Oi1MfYX5UxRQL7nRamPsL8qVsmT48cu9R8aPwLq4vyqypSx+fN0o/xxUHvc6LUx9hflRudFqY+wvypiigX3Oi1MfYX5UtJk+PPoM1H5j/AIF5Y/yqxpWXj4/4P746D1udFqY+wvyo3Oi1MfYX5UxRQL7nRamPsL8qWyjk+MQvvUfBzF+VWNK5T4l/ZQLSmBbQlnMK45EaRd6GHCmENe911/lDRw03udFqY+wvypa15NdrXDOsiKsSupjKMzPnMN5DhgFuwj8J9NWNAvudFqY+wvyrm50Wpj7C/KmaKCpgssawu+11kIkluREjLNdI9yi+4dZAr3kzMzxCRYFXynQo6IGSSNmjdDdeLwysLwSDdoJFdzLvZpEhlEMjPKFlK5zAxkfysN4vu9tS5GsBhgWIlDhvF8augN5JvON3JY33lixJJJ9NBLudFqY+wvyo3Oi1MfYX5UxRQJWaBVncIqrvUfmgLfpl5KK9x/eH6KP4paKAj+8P0UfxS01Ve9mDWhyS4uiTzXkT8UvoUi+oMmzQzhs29ovRgrJI1rhdSQGF6SEG4ggg3XUFvRSu5y86XvZ/FRucvOl72fxUBbeGPpR7mpqqy2ZPW+PypeNA42fkb9Vcvhz+1s7Jnc0Zs3nbReIwQuI+Vo0kDTw6eQ0FpRSu5y86XvZ/FRucvOl72fxUDD8B9lQ5P4mPo19wrw+TluPlS8Gtn8VVrSwwwQmRrR5YVFWM2yZmbAXICR4j5qseD0UF7RSi5PUi/FN/vLOP+MVd3OXnS97P4qBqlLH583Sj/HFXdzl50vez+KkM1HGJ5JJJFRJLyxln0DNxcjaT/wA0FzRSFmsySIHU2gAi8B3tUTf7o5BH+4qXc5edL3s/ioGqVl4+P+D++Ojc5edL3s/ipaTJ655Bil8x/wDVn5Y/1UFnRVPHaIWtG18VqElzMA+3UVlQqGZZGuVgC68BPnCntzl50vez+KgapXKfEv7KNzl50vez+Klso5PUQucUvBrZ/FQWdFU9qtMEcqxPLMHbDoD2pgucYpHjcG5MTgquIi8i4U9ucvOl72fxUDVcpbc5edL3s/io3OXnS97P4qAyd5h6WX/I9NVTJHFFA8skkqqskhLZ2c6BI40ANeSdAuGkk1PYFimjzkbzFbyumS0oyspKsrKzAqQQRcRQWVFK7nLzpe9n8VG5y86XvZ/FQEf3h+ij+KWio7LAFnkALHe4/OZ39MvOJurtB6Xj5LuHNJdfy3y0lkDJskbTySiNDNKJc1E7zKpwqrNnHVSSSOC64AC7009H94foo/ilpqgKKKKBW28MfSj3NVbZ9jWC37aWWQqyTY43IN8kpgII8m/CFhu0nRhQDQKsrbwx9KPc1NUBRRRQeX4D7KoMsZJe0WKJI0jZwgKSSSSwmBzGUEyNGpJYYjovF950ir9+A+yocn8TH0a+4UEsSkKATiIABY6MRHpr3RRQFUeVcmG0Q2iJSt+fjkAYsqsYhZ5QjFdIDYMJI0gG/TV5Slj8+bpR/jioIcgWB4bOI5CCcbsFVmdY0d2dIVZgCyopCgkDzeADQLGiigKVl4+P+D++OmqVl4+P+D++OghsuTmFpltEhUllWKIC/e4VGI33/iaRmJu9Cx8lWFFFAUrlPiX9lNUrlPiX9lBTZY2OSS22O0KUAXM3MWdWjzUrSSDNgXTB1KqMZGAriGmtHRRQFFFFBVS2ITWWWIqHxPLcpZovLEjlTnFBKEMAcQBIuvr1seyU0EJV2xO8rzOcTP5TknDiYAtcMIvuF919w4Azk7zD0sv+R6aoCiiigVj+8P0UfxS0UR/eH6KP4paKCJoS1oe6R03qPQojN/lS85TUu1G18vVD4KE49+ij+KWsFbYGay3CK1OBugIQ8dqZ1tkkoexS+WMQOAvhkOhb+EGg3u1G18vVD4KNqNr5eqHwUyvBprtBWWyytfHv8vGj0Q8jfopnaja+Xqh8FFt4Y+lHuaqdyBb7ViFpwtYogWUWrDiUzYhEyi4NhePRGcRJ5RQXG1G18vVD4KNqNr5eqHwUpsVJ3PswYOrCzRqyyK6OHVQrBlYAg3g8NWtAo9ka47/LwckPgqGwWVszHv8ALxa+iHkH6KffgPsrPZe+4QECYkTWV7oRM5uWSJnLLECSuAOSCLtHsoLnaja+Xqh8FG1G18vVD4KpMlopynM6QyQ4Y2jYmKZBanLIzTNIVwsFuCppJ8qT8N1+loFdqNr5eqHwUrZLK2Obf5eNHoh1cX6KtKrZLsFpxY7sRvzecx3ZqPzc35V/8dNAxtRtfL1Q+Cjaja+Xqh8FZGzw4hkwiGXPpHCJC0FoSQRqjKwM7ACNVbGWQ6X8kaL1v3FArtRtfL1Q+ClpLK2fTf5fMf0Q8sf6Ks6Vl4+P+D++OgNqNr5eqHwUbUbXy9UPgrP2mKZrZa0s+cUvHZ/LlNpjjuUy55YZSrBWwsnmaAWvuvvqz2IxOuTrMsqlHWzorIS5KkKBccQBvuuvvHDfw8NA7tRtfL1Q+Clso2Vsy+/y8HJD4Ks6VynxL+ygNqNr5eqHwUbUbXy9UPgqpyyP+vg4+42edGZFndFxBMN4UFQ2hrr9Po9NR7BYM3Z3jCAIkgRJhDJZWtCiOO+V45NOLFiUn04KC62o2vl6ofBRtRtfL1Q+CmqKCssFlbAd/l42T0Q6x/0UztRtfL1Q+CoobsxJixXY5r8GPFdjkvw4PKvu4MOnk01jbAJg1gYxO+CyWSNY54J2Ky42jtjlzdmZEQI2JxewW4X3m8NvtRtfL1Q+Cjaja+Xqh8FNUUCNliKzyXuz73HpbALtMvNArte4/vD9FH8UtFAR/eH6KP4paapBse2HwYOKjvxYudLyVLv37X96Bqild+/a/vRv37X96AtvDH0o9zU1VbbM7fHxXGjn8jUxv37X96Bqild+/a/vRv37X96Bh+A+yocn8TH0a+4V4fO3HiuD9dQ2DO5mPiuLXn8goLGild+/a/vRv37X96BqlLH583Sj/HFXd+/a/vS1kzuObiuNHP1cVBZ0Urvv7X96N+/a/vQNUrLx8f8AB/fHRv37X96XlzufTivMfn8sdBZUUrv37X96N+/a/vQNUrlPiX9lG/ftf3pfKOdzL8VwfroLKild+/a/vRv37X96Bqild+/a/vRv37X96Ayf5h6WX/I9NVWZPzuA8VxsnP1j0zvv7X96Bqild+/a/vRv37X96Aj+8P0UfxS0VHZcWfkx4eKjuw38svLXaD2nHv0UfxS1lpbbJJY2C2yQzm3TWWF4jEuJzI6pjUKb1jjUuRw4YzWpj+8P0UfxS1LFZEXzY0XTi8lVGm66/R6btFB7QXAC8m4XXm68/mbq9UUUCtt4Y+lHuas3l/K8iS2tEtAF0FkMaEoubaaaSJ/KuJQMAgLkHBeGuN1x0lt4Y+lHuapGsaEsTGhLLhYlVJZToKk+kXAaPyoK3Ypa2ksitIzMwkljJYqxGblkQJjGh8IULi/Fhv8ATVxXmOMKoVQFAFwVQAABwAAcAr1QeX4D7KosrWxorHZ3WbNb/ZUYnB5cbyRI8flcF6s3Bp0VevwH2UrZbOrwRh0Vxm1NzAML8N19x9poKLI1un3RkhlZ2GCaRhigeNFEqLZcAQ4o74i4IcC9ozdfcTWpqOOBVLFVVSxxMVABZuC83cJqSgKqLbaESK0vLM0CBwWlQgMowQ6F0HSeAAC8k6NN1W9JWeIM0ysoYGUXqwBB3uLhBoMfZMrziWIPaWLA2YLBihfOx2iedJBIUG+OkKLeVNwaFjwE372oEsUYKlY4wUvCkKowBvOC6NF/puqegKVl4+P+D++OmqVl4+P+D++OgzNuykwktpgtrYYrNIWLtC4jtS3FViUjQEW9WvvF7qNLK12oyfNjhje8NijVsQuN5IGnRQbBHexzUd7C5jhW9hw3E3adIHVU0cYUBVAUDQFAAAHIAKD1SuU+Jf2U1SuU+Jf2UFRlu2XW2COO0sj3h5IS0YjFm8oM7qwvLMblW433reNCvXvYjazJHK4naeIzbw8jI7mLAl7EqB5LOJGW/ThYcAIAuJLIjMGaNGYcDMqkj06CeCuwWVEvCIiXm8hFC3nlN1BLRRRQVjzKllleSUwopmLTAgGNQ8l7gkG672Vm0yhIIrLIbW+I2tUzbSQs+1pZykayRBd8coVQ6QU0t5RU4tZYkBjYMAQZZQQdIIzj6CK9pk+JSpWKMFb8JCqCuLhwm7Rf+VAxRRRQKx/eH6KP4paKI/vD9FH8UtFBE0rC0PhjL71HpvUXeVLy1Ltl9Se0leWYCWQsbgIUJOkXC+a81hJbfM1ikksUkkkJnzoAtDPPCiiERxMzksodhJIy33gMF0XtcG92xJqD2ko2xJqD2kpkV2grbZaHvj3k8aPxJyNTG2X1J7SUW3hj6Ue5qymW7Sj2u0Rx202ZkszJK0k8qrnHERQpFjGBUQEl0w8Zwk47g1e2H1J7SUbYk1B7SUnsVtOOyI1x8+RQxklnEgV3USrJISzIwAYXngYXXi41bUCj2h7jvJ4OclQ2C0PmY95PFr+JOQU+/AfZWW2U2pFsESGVoZJFCQyiWSzrHKU46RlIBVBe2Fr7yAACSKDQ7Yk1J7SUbYk1B7SVnNjmUXa3zLI2cLGYkB5f+njilVYFaInCokiZXVgAThY+VebtbQK7Yk1B7SUtZLQ+ObeTxo/Emriqzqkynao44LU85cRhxizbPG58iEBVZSCCSQOEDTpIF9BY7ZfUntJRtiTUHtJWXyVAZGsaraJZGVTPLLFaJ5IhCjMI7OSGwynGwTEwJZYHv03VsqBXbEmoPaSl5LQ+fTeT5j/iTljqypWXj4/4P746A2y+pPaSjbEmpPaSsTlnKKma0Zi0sgWSOKVJJ5rjJn487IVxXwQKt8ZZbgc4dFygnVbFJmawws5ctg0s5LFriQGDHS6kAFWOkrcTpJoHNsSag9pKXyjaHzL7yeDnJVlSuU+Jf2UBth9Se0lG2H1J7SVQ7IrSu3YIY7QYJyMeJpXWPNnGqpmS2GV3fRdcSApN4IW/mwSWRklxPnIwyKkmee1q8gRc80czgYlLXcGgHFwG8AL/AGxJqD2ko2xJqD2kpqigrMn2h8B3k8bJ+JNY9M7ZfUntJS+NBZpDK5RMcuNwzR4Vzj3tjUgr7QRdWIsVukvjBnlJEsYsuGWZ0nvtjraMBJ3+MQZsXvfcl5Fw00G/2xJqD2ko2xJqD2kpqigRssjGeTEmDeo9F4N+mXkrte4/vD9FH8UtFAR/eH6KP4paapB7SFtD3hzfFH5qSP8Ail9Kg1LuivNl7qfw0DVFK7orzZe6n8NG6K82Xup/DQFt4Y+lHuamqrLZlBb4/Jl40Hip+Rv00zuivNl7qfw0DVFK7orzZe6n8NG6K82Xup/DQMPwH2VDk/iY+jX3CvD5RW4+TLwaqfw1DYMoLmY/Jl4tf9KfkH6aCxopXdFebL3U/ho3RXmy91P4aBqlLH583Sj/ABxV3dFebL3U/hpWyZQXHL5MvGj/AEp9XF+mgtKKV3RXmy91P4aN0V5svdT+GgapWXj4/wCD++OjdFebL3U/hpaTKC59Dhl8x/8ASn5Y/wBNBZ0UruivNl7qfw0borzZe6n8NA1SuU+Jf2UborzZe6n8NLZRygphcYZeDVT+Ggs6KV3RXmy91P4aN0V5svdT+GgaopXdFebL3U/ho3RXmy91P4aAyf5h6WX/ACPTVVtitoVSCso3yQ8VNwM7EHzeQimN0V5svdT+GgaopXdFebL3U/ho3RXmy91P4aAj+8P0UfxS0VHZZw08hAYb3H5yunpl5wF9doPace/RR++Ws2mVLQglRpsTRZQs0V80ceNrPO8KMRmiFAYu5U3EgC4i/SNIovncHSM0guPp0y0uuxuyiPNCyWfN487m82mHOAXB7rvOAAAPoAHJQWIrtFFArbeGPpR7mpqlbbwx9KPc1NUBRRRQeX4D7KhyfxMfRr7hUz8B9lQ5P4mPo19woGKKKKApSx+fN0o/xxU3Slj8+bpR/jioG6KKKApWXj4/4P746apWXj4/4P746BqiiigKVynxL+ymqVynxL+ygaoqqyjbLQryCOHEqwl0IXEWkANy3Y1v03DDovvvxClLLb7aSMdniUZ3Cbr783jhGIeVzHmOnV8A4CGgorPPly2AkDJZIBcBs/HpCC8NddwPwL+fDcNNRTZatocFbBemZDmMkFhKTpjx4gDcLuBeXhoNNRWbbLNtJI2jm1uUh8SzkG/SMAZMRuI9IAuJvPBXVy5bMRG5puvOEmVV0KwAv0HhGn/jTw0GjorO2fLdsJIbJ5QXMQ2NTdcGwrd+I4govvA0k8FxMliyra2mVZLEEjbCMQkDFD5RZjo0i7ALtGkNpN4oLSP7w/RR/FLRRH94foo/ilooIzaUW0PjdVvijuxELf5UvLU26MWuj7a/OpytcwDkFBDujFro+2vzo3Ri10fbX51NgHIKMA5BQIWy3x3x77HxoPnryN+dM7oxa6Ptr86nwDkFcwDkFBDujFro+2vzo3Ri10fbX51NgHIKMA5BQLvlCK477Hwc9fnUNgyhHmY99j4tfxLyD86ewDkFGAcgoId0YtdH21+dG6MWuj7a/OpsA5BRgHIKCHdGLXR9tfnStkt8eOXfY+NH4l1cX51YYByCu4ByCgg3Ri10fbX50boxa6Ptr86mwDkFGAcgoId0YtdH21+dLSW+PPoc7H5j/jXlT86fwDkFdwDkFBBujFro+2vzo3Ri10fbX51NgHIKMA5BQQ7oxa6Ptr86Wyjb4zC4EsfBz1+dP4ByCu4ByCgg3Ri1sfbX50boxa6Ptr86mwDkFGAcgoId0YtdH21+dG6MWtj7a/OpsA5BRgHIKCHdGLXR9tfnRujFrY+2vzqbAOQUYByCgh3Ri1sfbX50boxa6Ptr86mwDkFGAcgoFLNOrTuVZW3uPzSGu0y8lFOAUUH/2Q=="/>
          <p:cNvSpPr>
            <a:spLocks noChangeAspect="1" noChangeArrowheads="1"/>
          </p:cNvSpPr>
          <p:nvPr/>
        </p:nvSpPr>
        <p:spPr bwMode="auto">
          <a:xfrm>
            <a:off x="79375" y="-727075"/>
            <a:ext cx="1828800" cy="1504950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Oval 6"/>
          <p:cNvSpPr/>
          <p:nvPr/>
        </p:nvSpPr>
        <p:spPr bwMode="auto">
          <a:xfrm>
            <a:off x="8915400" y="152400"/>
            <a:ext cx="990600" cy="990600"/>
          </a:xfrm>
          <a:prstGeom prst="ellips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graphicFrame>
        <p:nvGraphicFramePr>
          <p:cNvPr id="9" name="Diagram 8"/>
          <p:cNvGraphicFramePr/>
          <p:nvPr/>
        </p:nvGraphicFramePr>
        <p:xfrm>
          <a:off x="1676400" y="1651000"/>
          <a:ext cx="6705600" cy="4470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8979725" y="404750"/>
            <a:ext cx="87382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Risk</a:t>
            </a:r>
          </a:p>
          <a:p>
            <a:pPr algn="ctr"/>
            <a:r>
              <a:rPr lang="en-US" dirty="0" smtClean="0"/>
              <a:t>Services</a:t>
            </a:r>
            <a:endParaRPr lang="en-US" dirty="0"/>
          </a:p>
        </p:txBody>
      </p:sp>
    </p:spTree>
    <p:custDataLst>
      <p:tags r:id="rId1"/>
    </p:custDataLst>
  </p:cSld>
  <p:clrMapOvr>
    <a:masterClrMapping/>
  </p:clrMapOvr>
  <p:transition xmlns:p14="http://schemas.microsoft.com/office/powerpoint/2010/main">
    <p:cut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Rectangle 2"/>
          <p:cNvSpPr>
            <a:spLocks noGrp="1" noChangeArrowheads="1"/>
          </p:cNvSpPr>
          <p:nvPr>
            <p:ph type="title"/>
          </p:nvPr>
        </p:nvSpPr>
        <p:spPr>
          <a:xfrm>
            <a:off x="762000" y="838200"/>
            <a:ext cx="8153400" cy="304800"/>
          </a:xfrm>
        </p:spPr>
        <p:txBody>
          <a:bodyPr/>
          <a:lstStyle/>
          <a:p>
            <a:pPr lvl="1"/>
            <a:r>
              <a:rPr lang="en-US" sz="2300" dirty="0" smtClean="0"/>
              <a:t>Case Study A:  Part 3 – General Lesson (in detail)</a:t>
            </a:r>
          </a:p>
        </p:txBody>
      </p:sp>
      <p:sp>
        <p:nvSpPr>
          <p:cNvPr id="93188" name="AutoShape 4" descr="data:image/jpg;base64,/9j/4AAQSkZJRgABAQAAAQABAAD/2wCEAAkGBhQSDhQQEA8QEBQUEBkQFA4QFhEQFBAQFBwWFRUQFRQYHycqFxkjGRUTHy8iIycsLCwsFR4xQTIqNSYrLSkBCQoKBQUFDQUFDSkYEhgpKSkpKSkpKSkpKSkpKSkpKSkpKSkpKSkpKSkpKSkpKSkpKSkpKSkpKSkpKSkpKSkpKf/AABEIAMwA9wMBIgACEQEDEQH/xAAbAAACAwEBAQAAAAAAAAAAAAAABAMFBgECB//EAEkQAAIBAQMEDQkIAQMDBQEAAAECAwAEERIFEyFTBhQVIzEzUVJzkZKT0iIyQVRxsbLR0wc0QmFiY3Kis0OBoSR0dRY1NsHCCP/EABQBAQAAAAAAAAAAAAAAAAAAAAD/xAAUEQEAAAAAAAAAAAAAAAAAAAAA/9oADAMBAAIRAxEAPwD7PLaXzhRERrkViWcp5xYXABTzf+a5nJtXF3j/AE67H94foo/ilpqgUzk2ri7x/p0ZybVxd4/06booFM5Nq4u8f6dGcm1cXeP9Om6KBTOTauLvH+nRnJtXF3j/AE6booFM5Nq4u8f6dGcm1cXeP9Om6KBTOTauLvH+nRnJtXF3j/TrL5O+0FpctS5KNjwtCpkefPBlzVyFXC4LyTnI9HovOnRV3YNl1kmWV4bVFKsK4pShLZpdOluTzT1Ggdzk2ri7x/p0ZybVxd4/06rZNnNhWBLQ1tgELsUSYtcjuvnKG4CR/wDR5KnynssslnEZtFqihEq4o84cOcGjzb+HhGj86BvOTauLvH+nRnJtXF3j/TqOfL0CWiOzPMizSrijhN+J106VHpHknqqHZRsijsNjltc2IpGAcK6WdmIVUH5liBQNZybVxd4/06M5Nq4u8f6dYXYr9sAtNshslpsEtia0xCazu7iRZkYMVbzVuDBWuOm8i6qu1f8A9ARLLI0eT55bLHMIXtiuo8psWErGRpvCORew0D0UH07OTauLvH+nRnJtXF3j/TrH7LPtjsNiiVlfbUsiJIlniNzZuRQ6u7Eb2CjAgHSbxo9Ij2WfbNZLEqLcbROwUtZYmF8IYBt8e64EXjRw/kKDaZybVxd4/wBOjOTauLvH+nTQNdoFM5Nq4u8f6dGcm1cXeP8ATpuigUzk2ri7x/p0ZybVxd4/06booFM5Nq4u8f6dGcm1cXeP9Om6KBTOTauLvH+nRnJtXF3j/TpuigWs1oYuyOiqQqterFwQxYelRd5v/NFcj+8P0UfxS0UBH94foo/ilpqlY/vD9FH8UtNUBRRRQFFFFAUUUUBRRRQfJtjv/wA5yh/2Q+Gx1P8AZMdGWf8AyU3/AOqNhViefZPlDKcattUxbWSZlZBLKogVgmIDEAYXvI/Llq+H2evFPa3sVuazJbWMk0LRJNhka/FJC5YYCcR4Qw6hQfNNkf8A8Lyb/wB2nvtNfTPtY2ObcyTMqm6WAbbhN9xDxXkge1cS+0jkrxsk+zGO05Ns+TYp2s8NnZXBwCV3KBlUkkgaS7k6NJPopj/0VO00882UM7JLYmsKnMIiQxu2JmCB/KY/meTkuoEfs0tj5QUZXnW5mgWxwryLHcbTLcDozk4YfxiWtXsgyLBarM0FrQPCbnZWZox5BxAllIIAIv4fRSOwfYtudYlsYmz6ozFHKCMgOS5U3E3+UW06OGvOz/ItoteTZrLZJEiklATHIWVc2SM4pKgnSt44PTQfKNg9lGU9kBtkCFLFk6IQ2cHEd7jVo7OgLabz5chvvI4Dw18/yd/7Ba//ACFl+C019m+znYRlbJ7xwSTZP2mHd5o4gxlkLKbjiMYvN+AcPAt1Ze0fYdlBBNYoJrIbJLaUnz0hkEqiISKgKheG6Q3gX3kDSNNAl9p2S4l2O5JtCwxrK8MKvMqqHdRZxcGYC9rsK3X8F1TfbrkyJLPk2ZIY0kkRs5KiqrS3JBdjYDyrrzw8tbn7QvsymteS7HYbJJENq4VxTlkxIkebB8lW0nQaj+077NrTlGz2KKzvZ1azKwcys6gkrGow4UN+lDw3eig+lrwV2uCu0BRRRQFFFFAUUUUBRRRQKx/eH6KP4paKI/vD9FH8UtFBE8xW0PdG771HpUxi7ypecwqXbjery9cHjoRv+ofoo/ilpLZRY89Y5IlMt7YQDCY8YuZTiukIV1F17KfOUMum+6gd22/q8vXB46NuN6vL1weOvncOxm1XPnLLGpkzUxWJohEjR2aeJogpbyTnGW4C8DH51wJGm2FZJls2ejm0qrJFBKSpaSzIt8eO4+egbNknhzd/poL7bjery9cHjo243q8vXB46ZxjlFUmzHJW2rC9mUm+Ro1xIQGjGcQmUEkaVALcuigstuN6vL1weOjbjery9cHjr53FsZtmcd7TDtgSSvJLEjxYZJpbJCiugZh5CTCdBfcRjVrvSHtj2xy1w2yB5TnUJU2h2dTdaYbKIBaUBN5Ehd1bRffGhu0mg223G9Xl64PHRtxvV5euDx0xjHKK7jHKKBbbbery9cHjo22/q8vXB46zuXtjQmyhFKIUZTZ5xLKSuic7W2uTeb9Gae64XDTzjfl//AEraTHZcVlJzUMEMqE2aQsYbLaonNzOAymWWIAk+jFoABoPpW3G9Xl64PHRtxvV5euDx1NEwwjgGgaL77vyvr3jHKKBbbjery9cHjo22/q8vXB46yez3Y5NaZFay6C9knsssiuEZL83PAwvIv32HBo9ExqqtOxm0GYytZsRlsV7qu12CWyV7TK6B2cFcBmj8pb8QQLwUH0Hbjery9cHjo243q8vXB46zmwTJMsAkzq5lGis6LAWVrpo4gs81ykhcTYRoOnNk+nTrMY5RQLbcb1eXrg8dG239Xl64PHXu1QJIhjkCurC5kPAw5DyivmE2wu07TjWODNynJ1viluaC9rRNm1gQnHdeVQjEOD0kUH0zbjery9cHjo243q8vXB46yWxzIU0dsxPFgRbRaZw+KMqUnWEIoAN+IYXBF1wwfmL9tjHKKBbbjery9cHjo22/q8vXB46YxjlFfPdkWxSeaXKEixK2cezmAERFnwizrI6uXGFQElBQ3Yr7+Sg3W3G9Xl64PHRtxvV5euDx1kth+RZ4bYzzxYFFmkhxhozGzm1TyjNqGJSMxyIVU+aLlvJWtrjHKKBfbjery9cHjo243q8vXB46ZxjlFZjZ3k2SeFBAhkdHMixnNtDI2BkzVoVmXyGDsMS6UNzeigvttt6vL1weOjbjery9cHjr59lLY5aZXtDtZseeezWlAXibMyJaFE0VzPdi2qkIJGgiMjhYg/RbNCkaLGgCqihFUcCqouAH+1AvZZS08l6Mm9x6GwG/TLzWNFSRH/qH6KP4paKCM2ZGtD40Rroo/OUNd5UvLU250Wpj7C/KvMf3h+ij+KWmqBfc6LUx9hflRudFqY+wvypiigrrZk+O+Peo+NH4F5G/KmdzotTH2F+Vebbwx9KPc1NUC+50Wpj7C/Kjc6LUx9hflTFFAq+TorjvMXBzF+VQ2DJ8eZj3qPi1/AvIPyp5+A+yocn8TH0a+4UBudFqY+wvyo3Oi1MfYX5UxRQL7nRamPsL8qVsmT48cu9R8aPwLq4vyqypSx+fN0o/xxUHvc6LUx9hflRudFqY+wvypiigX3Oi1MfYX5UtJk+PPoM1H5j/AIF5Y/yqxpWXj4/4P746D1udFqY+wvyo3Oi1MfYX5UxRQL7nRamPsL8qWyjk+MQvvUfBzF+VWNK5T4l/ZQLSmBbQlnMK45EaRd6GHCmENe911/lDRw03udFqY+wvypa15NdrXDOsiKsSupjKMzPnMN5DhgFuwj8J9NWNAvudFqY+wvyrm50Wpj7C/KmaKCpgssawu+11kIkluREjLNdI9yi+4dZAr3kzMzxCRYFXynQo6IGSSNmjdDdeLwysLwSDdoJFdzLvZpEhlEMjPKFlK5zAxkfysN4vu9tS5GsBhgWIlDhvF8augN5JvON3JY33lixJJJ9NBLudFqY+wvyo3Oi1MfYX5UxRQJWaBVncIqrvUfmgLfpl5KK9x/eH6KP4paKAj+8P0UfxS01Ve9mDWhyS4uiTzXkT8UvoUi+oMmzQzhs29ovRgrJI1rhdSQGF6SEG4ggg3XUFvRSu5y86XvZ/FRucvOl72fxUBbeGPpR7mpqqy2ZPW+PypeNA42fkb9Vcvhz+1s7Jnc0Zs3nbReIwQuI+Vo0kDTw6eQ0FpRSu5y86XvZ/FRucvOl72fxUDD8B9lQ5P4mPo19wrw+TluPlS8Gtn8VVrSwwwQmRrR5YVFWM2yZmbAXICR4j5qseD0UF7RSi5PUi/FN/vLOP+MVd3OXnS97P4qBqlLH583Sj/HFXdzl50vez+KkM1HGJ5JJJFRJLyxln0DNxcjaT/wA0FzRSFmsySIHU2gAi8B3tUTf7o5BH+4qXc5edL3s/ioGqVl4+P+D++Ojc5edL3s/ipaTJ655Bil8x/wDVn5Y/1UFnRVPHaIWtG18VqElzMA+3UVlQqGZZGuVgC68BPnCntzl50vez+KgapXKfEv7KNzl50vez+Klso5PUQucUvBrZ/FQWdFU9qtMEcqxPLMHbDoD2pgucYpHjcG5MTgquIi8i4U9ucvOl72fxUDVcpbc5edL3s/io3OXnS97P4qAyd5h6WX/I9NVTJHFFA8skkqqskhLZ2c6BI40ANeSdAuGkk1PYFimjzkbzFbyumS0oyspKsrKzAqQQRcRQWVFK7nLzpe9n8VG5y86XvZ/FQEf3h+ij+KWio7LAFnkALHe4/OZ39MvOJurtB6Xj5LuHNJdfy3y0lkDJskbTySiNDNKJc1E7zKpwqrNnHVSSSOC64AC7009H94foo/ilpqgKKKKBW28MfSj3NVbZ9jWC37aWWQqyTY43IN8kpgII8m/CFhu0nRhQDQKsrbwx9KPc1NUBRRRQeX4D7KoMsZJe0WKJI0jZwgKSSSSwmBzGUEyNGpJYYjovF950ir9+A+yocn8TH0a+4UEsSkKATiIABY6MRHpr3RRQFUeVcmG0Q2iJSt+fjkAYsqsYhZ5QjFdIDYMJI0gG/TV5Slj8+bpR/jioIcgWB4bOI5CCcbsFVmdY0d2dIVZgCyopCgkDzeADQLGiigKVl4+P+D++OmqVl4+P+D++OghsuTmFpltEhUllWKIC/e4VGI33/iaRmJu9Cx8lWFFFAUrlPiX9lNUrlPiX9lBTZY2OSS22O0KUAXM3MWdWjzUrSSDNgXTB1KqMZGAriGmtHRRQFFFFBVS2ITWWWIqHxPLcpZovLEjlTnFBKEMAcQBIuvr1seyU0EJV2xO8rzOcTP5TknDiYAtcMIvuF919w4Azk7zD0sv+R6aoCiiigVj+8P0UfxS0UR/eH6KP4paKCJoS1oe6R03qPQojN/lS85TUu1G18vVD4KE49+ij+KWsFbYGay3CK1OBugIQ8dqZ1tkkoexS+WMQOAvhkOhb+EGg3u1G18vVD4KNqNr5eqHwUyvBprtBWWyytfHv8vGj0Q8jfopnaja+Xqh8FFt4Y+lHuaqdyBb7ViFpwtYogWUWrDiUzYhEyi4NhePRGcRJ5RQXG1G18vVD4KNqNr5eqHwUpsVJ3PswYOrCzRqyyK6OHVQrBlYAg3g8NWtAo9ka47/LwckPgqGwWVszHv8ALxa+iHkH6KffgPsrPZe+4QECYkTWV7oRM5uWSJnLLECSuAOSCLtHsoLnaja+Xqh8FG1G18vVD4KpMlopynM6QyQ4Y2jYmKZBanLIzTNIVwsFuCppJ8qT8N1+loFdqNr5eqHwUrZLK2Obf5eNHoh1cX6KtKrZLsFpxY7sRvzecx3ZqPzc35V/8dNAxtRtfL1Q+Cjaja+Xqh8FZGzw4hkwiGXPpHCJC0FoSQRqjKwM7ACNVbGWQ6X8kaL1v3FArtRtfL1Q+ClpLK2fTf5fMf0Q8sf6Ks6Vl4+P+D++OgNqNr5eqHwUbUbXy9UPgrP2mKZrZa0s+cUvHZ/LlNpjjuUy55YZSrBWwsnmaAWvuvvqz2IxOuTrMsqlHWzorIS5KkKBccQBvuuvvHDfw8NA7tRtfL1Q+Clso2Vsy+/y8HJD4Ks6VynxL+ygNqNr5eqHwUbUbXy9UPgqpyyP+vg4+42edGZFndFxBMN4UFQ2hrr9Po9NR7BYM3Z3jCAIkgRJhDJZWtCiOO+V45NOLFiUn04KC62o2vl6ofBRtRtfL1Q+CmqKCssFlbAd/l42T0Q6x/0UztRtfL1Q+CoobsxJixXY5r8GPFdjkvw4PKvu4MOnk01jbAJg1gYxO+CyWSNY54J2Ky42jtjlzdmZEQI2JxewW4X3m8NvtRtfL1Q+Cjaja+Xqh8FNUUCNliKzyXuz73HpbALtMvNArte4/vD9FH8UtFAR/eH6KP4paapBse2HwYOKjvxYudLyVLv37X96Bqild+/a/vRv37X96AtvDH0o9zU1VbbM7fHxXGjn8jUxv37X96Bqild+/a/vRv37X96Bh+A+yocn8TH0a+4V4fO3HiuD9dQ2DO5mPiuLXn8goLGild+/a/vRv37X96BqlLH583Sj/HFXd+/a/vS1kzuObiuNHP1cVBZ0Urvv7X96N+/a/vQNUrLx8f8AB/fHRv37X96XlzufTivMfn8sdBZUUrv37X96N+/a/vQNUrlPiX9lG/ftf3pfKOdzL8VwfroLKild+/a/vRv37X96Bqild+/a/vRv37X96Ayf5h6WX/I9NVWZPzuA8VxsnP1j0zvv7X96Bqild+/a/vRv37X96Aj+8P0UfxS0VHZcWfkx4eKjuw38svLXaD2nHv0UfxS1lpbbJJY2C2yQzm3TWWF4jEuJzI6pjUKb1jjUuRw4YzWpj+8P0UfxS1LFZEXzY0XTi8lVGm66/R6btFB7QXAC8m4XXm68/mbq9UUUCtt4Y+lHuas3l/K8iS2tEtAF0FkMaEoubaaaSJ/KuJQMAgLkHBeGuN1x0lt4Y+lHuapGsaEsTGhLLhYlVJZToKk+kXAaPyoK3Ypa2ksitIzMwkljJYqxGblkQJjGh8IULi/Fhv8ATVxXmOMKoVQFAFwVQAABwAAcAr1QeX4D7KosrWxorHZ3WbNb/ZUYnB5cbyRI8flcF6s3Bp0VevwH2UrZbOrwRh0Vxm1NzAML8N19x9poKLI1un3RkhlZ2GCaRhigeNFEqLZcAQ4o74i4IcC9ozdfcTWpqOOBVLFVVSxxMVABZuC83cJqSgKqLbaESK0vLM0CBwWlQgMowQ6F0HSeAAC8k6NN1W9JWeIM0ysoYGUXqwBB3uLhBoMfZMrziWIPaWLA2YLBihfOx2iedJBIUG+OkKLeVNwaFjwE372oEsUYKlY4wUvCkKowBvOC6NF/puqegKVl4+P+D++OmqVl4+P+D++OgzNuykwktpgtrYYrNIWLtC4jtS3FViUjQEW9WvvF7qNLK12oyfNjhje8NijVsQuN5IGnRQbBHexzUd7C5jhW9hw3E3adIHVU0cYUBVAUDQFAAAHIAKD1SuU+Jf2U1SuU+Jf2UFRlu2XW2COO0sj3h5IS0YjFm8oM7qwvLMblW433reNCvXvYjazJHK4naeIzbw8jI7mLAl7EqB5LOJGW/ThYcAIAuJLIjMGaNGYcDMqkj06CeCuwWVEvCIiXm8hFC3nlN1BLRRRQVjzKllleSUwopmLTAgGNQ8l7gkG672Vm0yhIIrLIbW+I2tUzbSQs+1pZykayRBd8coVQ6QU0t5RU4tZYkBjYMAQZZQQdIIzj6CK9pk+JSpWKMFb8JCqCuLhwm7Rf+VAxRRRQKx/eH6KP4paKI/vD9FH8UtFBE0rC0PhjL71HpvUXeVLy1Ltl9Se0leWYCWQsbgIUJOkXC+a81hJbfM1ikksUkkkJnzoAtDPPCiiERxMzksodhJIy33gMF0XtcG92xJqD2ko2xJqD2kpkV2grbZaHvj3k8aPxJyNTG2X1J7SUW3hj6Ue5qymW7Sj2u0Rx202ZkszJK0k8qrnHERQpFjGBUQEl0w8Zwk47g1e2H1J7SUbYk1B7SUnsVtOOyI1x8+RQxklnEgV3USrJISzIwAYXngYXXi41bUCj2h7jvJ4OclQ2C0PmY95PFr+JOQU+/AfZWW2U2pFsESGVoZJFCQyiWSzrHKU46RlIBVBe2Fr7yAACSKDQ7Yk1J7SUbYk1B7SVnNjmUXa3zLI2cLGYkB5f+njilVYFaInCokiZXVgAThY+VebtbQK7Yk1B7SUtZLQ+ObeTxo/Emriqzqkynao44LU85cRhxizbPG58iEBVZSCCSQOEDTpIF9BY7ZfUntJRtiTUHtJWXyVAZGsaraJZGVTPLLFaJ5IhCjMI7OSGwynGwTEwJZYHv03VsqBXbEmoPaSl5LQ+fTeT5j/iTljqypWXj4/4P746A2y+pPaSjbEmpPaSsTlnKKma0Zi0sgWSOKVJJ5rjJn487IVxXwQKt8ZZbgc4dFygnVbFJmawws5ctg0s5LFriQGDHS6kAFWOkrcTpJoHNsSag9pKXyjaHzL7yeDnJVlSuU+Jf2UBth9Se0lG2H1J7SVQ7IrSu3YIY7QYJyMeJpXWPNnGqpmS2GV3fRdcSApN4IW/mwSWRklxPnIwyKkmee1q8gRc80czgYlLXcGgHFwG8AL/AGxJqD2ko2xJqD2kpqigrMn2h8B3k8bJ+JNY9M7ZfUntJS+NBZpDK5RMcuNwzR4Vzj3tjUgr7QRdWIsVukvjBnlJEsYsuGWZ0nvtjraMBJ3+MQZsXvfcl5Fw00G/2xJqD2ko2xJqD2kpqigRssjGeTEmDeo9F4N+mXkrte4/vD9FH8UtFAR/eH6KP4paapB7SFtD3hzfFH5qSP8Ail9Kg1LuivNl7qfw0DVFK7orzZe6n8NG6K82Xup/DQFt4Y+lHuamqrLZlBb4/Jl40Hip+Rv00zuivNl7qfw0DVFK7orzZe6n8NG6K82Xup/DQMPwH2VDk/iY+jX3CvD5RW4+TLwaqfw1DYMoLmY/Jl4tf9KfkH6aCxopXdFebL3U/ho3RXmy91P4aBqlLH583Sj/ABxV3dFebL3U/hpWyZQXHL5MvGj/AEp9XF+mgtKKV3RXmy91P4aN0V5svdT+GgapWXj4/wCD++OjdFebL3U/hpaTKC59Dhl8x/8ASn5Y/wBNBZ0UruivNl7qfw0borzZe6n8NA1SuU+Jf2UborzZe6n8NLZRygphcYZeDVT+Ggs6KV3RXmy91P4aN0V5svdT+GgaopXdFebL3U/ho3RXmy91P4aAyf5h6WX/ACPTVVtitoVSCso3yQ8VNwM7EHzeQimN0V5svdT+GgaopXdFebL3U/ho3RXmy91P4aAj+8P0UfxS0VHZZw08hAYb3H5yunpl5wF9doPace/RR++Ws2mVLQglRpsTRZQs0V80ceNrPO8KMRmiFAYu5U3EgC4i/SNIovncHSM0guPp0y0uuxuyiPNCyWfN487m82mHOAXB7rvOAAAPoAHJQWIrtFFArbeGPpR7mpqlbbwx9KPc1NUBRRRQeX4D7KhyfxMfRr7hUz8B9lQ5P4mPo19woGKKKKApSx+fN0o/xxU3Slj8+bpR/jioG6KKKApWXj4/4P746apWXj4/4P746BqiiigKVynxL+ymqVynxL+ygaoqqyjbLQryCOHEqwl0IXEWkANy3Y1v03DDovvvxClLLb7aSMdniUZ3Cbr783jhGIeVzHmOnV8A4CGgorPPly2AkDJZIBcBs/HpCC8NddwPwL+fDcNNRTZatocFbBemZDmMkFhKTpjx4gDcLuBeXhoNNRWbbLNtJI2jm1uUh8SzkG/SMAZMRuI9IAuJvPBXVy5bMRG5puvOEmVV0KwAv0HhGn/jTw0GjorO2fLdsJIbJ5QXMQ2NTdcGwrd+I4govvA0k8FxMliyra2mVZLEEjbCMQkDFD5RZjo0i7ALtGkNpN4oLSP7w/RR/FLRRH94foo/ilooIzaUW0PjdVvijuxELf5UvLU26MWuj7a/OpytcwDkFBDujFro+2vzo3Ri10fbX51NgHIKMA5BQIWy3x3x77HxoPnryN+dM7oxa6Ptr86nwDkFcwDkFBDujFro+2vzo3Ri10fbX51NgHIKMA5BQLvlCK477Hwc9fnUNgyhHmY99j4tfxLyD86ewDkFGAcgoId0YtdH21+dG6MWuj7a/OpsA5BRgHIKCHdGLXR9tfnStkt8eOXfY+NH4l1cX51YYByCu4ByCgg3Ri10fbX50boxa6Ptr86mwDkFGAcgoId0YtdH21+dLSW+PPoc7H5j/jXlT86fwDkFdwDkFBBujFro+2vzo3Ri10fbX51NgHIKMA5BQQ7oxa6Ptr86Wyjb4zC4EsfBz1+dP4ByCu4ByCgg3Ri1sfbX50boxa6Ptr86mwDkFGAcgoId0YtdH21+dG6MWtj7a/OpsA5BRgHIKCHdGLXR9tfnRujFrY+2vzqbAOQUYByCgh3Ri1sfbX50boxa6Ptr86mwDkFGAcgoFLNOrTuVZW3uPzSGu0y8lFOAUUH/2Q=="/>
          <p:cNvSpPr>
            <a:spLocks noChangeAspect="1" noChangeArrowheads="1"/>
          </p:cNvSpPr>
          <p:nvPr/>
        </p:nvSpPr>
        <p:spPr bwMode="auto">
          <a:xfrm>
            <a:off x="79375" y="-727075"/>
            <a:ext cx="1828800" cy="1504950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Oval 6"/>
          <p:cNvSpPr/>
          <p:nvPr/>
        </p:nvSpPr>
        <p:spPr bwMode="auto">
          <a:xfrm>
            <a:off x="8915400" y="152400"/>
            <a:ext cx="990600" cy="990600"/>
          </a:xfrm>
          <a:prstGeom prst="ellips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8979725" y="404750"/>
            <a:ext cx="87382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Risk</a:t>
            </a:r>
          </a:p>
          <a:p>
            <a:pPr algn="ctr"/>
            <a:r>
              <a:rPr lang="en-US" dirty="0" smtClean="0"/>
              <a:t>Services</a:t>
            </a:r>
            <a:endParaRPr lang="en-US" dirty="0"/>
          </a:p>
        </p:txBody>
      </p:sp>
      <p:grpSp>
        <p:nvGrpSpPr>
          <p:cNvPr id="2" name="Content Placeholder 5"/>
          <p:cNvGrpSpPr>
            <a:grpSpLocks noGrp="1"/>
          </p:cNvGrpSpPr>
          <p:nvPr/>
        </p:nvGrpSpPr>
        <p:grpSpPr bwMode="auto">
          <a:xfrm>
            <a:off x="1600200" y="1560545"/>
            <a:ext cx="8305800" cy="5678455"/>
            <a:chOff x="2971800" y="533400"/>
            <a:chExt cx="6013189" cy="5887355"/>
          </a:xfrm>
        </p:grpSpPr>
        <p:sp>
          <p:nvSpPr>
            <p:cNvPr id="11" name="Oval 10"/>
            <p:cNvSpPr/>
            <p:nvPr/>
          </p:nvSpPr>
          <p:spPr>
            <a:xfrm>
              <a:off x="2971800" y="533400"/>
              <a:ext cx="5867400" cy="5867400"/>
            </a:xfrm>
            <a:prstGeom prst="ellipse">
              <a:avLst/>
            </a:prstGeom>
            <a:gradFill flip="none" rotWithShape="1">
              <a:gsLst>
                <a:gs pos="32000">
                  <a:schemeClr val="accent1">
                    <a:lumMod val="20000"/>
                    <a:lumOff val="80000"/>
                  </a:schemeClr>
                </a:gs>
                <a:gs pos="50000">
                  <a:schemeClr val="accent1">
                    <a:lumMod val="60000"/>
                    <a:lumOff val="40000"/>
                  </a:schemeClr>
                </a:gs>
                <a:gs pos="100000">
                  <a:schemeClr val="accent1">
                    <a:lumMod val="5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lang="en-US" sz="1000" b="1">
                <a:solidFill>
                  <a:srgbClr val="FFFFFF"/>
                </a:solidFill>
              </a:endParaRPr>
            </a:p>
          </p:txBody>
        </p:sp>
        <p:sp>
          <p:nvSpPr>
            <p:cNvPr id="12" name="Oval 11"/>
            <p:cNvSpPr/>
            <p:nvPr/>
          </p:nvSpPr>
          <p:spPr>
            <a:xfrm>
              <a:off x="4533900" y="2094941"/>
              <a:ext cx="2743262" cy="2744137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bg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lang="en-US" sz="1000" b="1">
                <a:solidFill>
                  <a:srgbClr val="FFFFFF"/>
                </a:solidFill>
              </a:endParaRPr>
            </a:p>
          </p:txBody>
        </p:sp>
        <p:sp>
          <p:nvSpPr>
            <p:cNvPr id="13" name="TextBox 8"/>
            <p:cNvSpPr txBox="1">
              <a:spLocks noChangeArrowheads="1"/>
            </p:cNvSpPr>
            <p:nvPr/>
          </p:nvSpPr>
          <p:spPr bwMode="auto">
            <a:xfrm>
              <a:off x="5562600" y="2209800"/>
              <a:ext cx="912109" cy="3170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9144">
              <a:spAutoFit/>
            </a:bodyPr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000" b="1">
                  <a:latin typeface="Gill Sans MT" pitchFamily="34" charset="0"/>
                </a:rPr>
                <a:t>Workers’ </a:t>
              </a:r>
              <a:br>
                <a:rPr lang="en-US" sz="1000" b="1">
                  <a:latin typeface="Gill Sans MT" pitchFamily="34" charset="0"/>
                </a:rPr>
              </a:br>
              <a:r>
                <a:rPr lang="en-US" sz="1000" b="1">
                  <a:latin typeface="Gill Sans MT" pitchFamily="34" charset="0"/>
                </a:rPr>
                <a:t>Compensation</a:t>
              </a:r>
            </a:p>
          </p:txBody>
        </p:sp>
        <p:sp>
          <p:nvSpPr>
            <p:cNvPr id="14" name="TextBox 9"/>
            <p:cNvSpPr txBox="1">
              <a:spLocks noChangeArrowheads="1"/>
            </p:cNvSpPr>
            <p:nvPr/>
          </p:nvSpPr>
          <p:spPr bwMode="auto">
            <a:xfrm>
              <a:off x="4876800" y="4038600"/>
              <a:ext cx="498534" cy="3170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9144">
              <a:spAutoFit/>
            </a:bodyPr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000" b="1">
                  <a:latin typeface="Gill Sans MT" pitchFamily="34" charset="0"/>
                </a:rPr>
                <a:t>General</a:t>
              </a:r>
              <a:br>
                <a:rPr lang="en-US" sz="1000" b="1">
                  <a:latin typeface="Gill Sans MT" pitchFamily="34" charset="0"/>
                </a:rPr>
              </a:br>
              <a:r>
                <a:rPr lang="en-US" sz="1000" b="1">
                  <a:latin typeface="Gill Sans MT" pitchFamily="34" charset="0"/>
                </a:rPr>
                <a:t>Liability</a:t>
              </a:r>
            </a:p>
          </p:txBody>
        </p:sp>
        <p:sp>
          <p:nvSpPr>
            <p:cNvPr id="15" name="TextBox 10"/>
            <p:cNvSpPr txBox="1">
              <a:spLocks noChangeArrowheads="1"/>
            </p:cNvSpPr>
            <p:nvPr/>
          </p:nvSpPr>
          <p:spPr bwMode="auto">
            <a:xfrm>
              <a:off x="5363671" y="4038600"/>
              <a:ext cx="884729" cy="3170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9144">
              <a:spAutoFit/>
            </a:bodyPr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000" b="1">
                  <a:latin typeface="Gill Sans MT" pitchFamily="34" charset="0"/>
                </a:rPr>
                <a:t>Auto </a:t>
              </a:r>
              <a:br>
                <a:rPr lang="en-US" sz="1000" b="1">
                  <a:latin typeface="Gill Sans MT" pitchFamily="34" charset="0"/>
                </a:rPr>
              </a:br>
              <a:r>
                <a:rPr lang="en-US" sz="1000" b="1">
                  <a:latin typeface="Gill Sans MT" pitchFamily="34" charset="0"/>
                </a:rPr>
                <a:t>(Bodily Injury)</a:t>
              </a:r>
            </a:p>
          </p:txBody>
        </p:sp>
        <p:sp>
          <p:nvSpPr>
            <p:cNvPr id="16" name="TextBox 11"/>
            <p:cNvSpPr txBox="1">
              <a:spLocks noChangeArrowheads="1"/>
            </p:cNvSpPr>
            <p:nvPr/>
          </p:nvSpPr>
          <p:spPr bwMode="auto">
            <a:xfrm>
              <a:off x="5638800" y="4419600"/>
              <a:ext cx="744883" cy="3170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9144">
              <a:spAutoFit/>
            </a:bodyPr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000" b="1">
                  <a:latin typeface="Gill Sans MT" pitchFamily="34" charset="0"/>
                </a:rPr>
                <a:t>Professional</a:t>
              </a:r>
              <a:br>
                <a:rPr lang="en-US" sz="1000" b="1">
                  <a:latin typeface="Gill Sans MT" pitchFamily="34" charset="0"/>
                </a:rPr>
              </a:br>
              <a:r>
                <a:rPr lang="en-US" sz="1000" b="1">
                  <a:latin typeface="Gill Sans MT" pitchFamily="34" charset="0"/>
                </a:rPr>
                <a:t>Liability</a:t>
              </a:r>
            </a:p>
          </p:txBody>
        </p:sp>
        <p:sp>
          <p:nvSpPr>
            <p:cNvPr id="17" name="TextBox 12"/>
            <p:cNvSpPr txBox="1">
              <a:spLocks noChangeArrowheads="1"/>
            </p:cNvSpPr>
            <p:nvPr/>
          </p:nvSpPr>
          <p:spPr bwMode="auto">
            <a:xfrm>
              <a:off x="3671541" y="3733800"/>
              <a:ext cx="606908" cy="4708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9144">
              <a:spAutoFit/>
            </a:bodyPr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000" b="1">
                  <a:latin typeface="Gill Sans MT" pitchFamily="34" charset="0"/>
                </a:rPr>
                <a:t>Foreign</a:t>
              </a:r>
              <a:br>
                <a:rPr lang="en-US" sz="1000" b="1">
                  <a:latin typeface="Gill Sans MT" pitchFamily="34" charset="0"/>
                </a:rPr>
              </a:br>
              <a:r>
                <a:rPr lang="en-US" sz="1000" b="1">
                  <a:latin typeface="Gill Sans MT" pitchFamily="34" charset="0"/>
                </a:rPr>
                <a:t>Liability</a:t>
              </a:r>
              <a:br>
                <a:rPr lang="en-US" sz="1000" b="1">
                  <a:latin typeface="Gill Sans MT" pitchFamily="34" charset="0"/>
                </a:rPr>
              </a:br>
              <a:r>
                <a:rPr lang="en-US" sz="1000" b="1">
                  <a:latin typeface="Gill Sans MT" pitchFamily="34" charset="0"/>
                </a:rPr>
                <a:t>(Enhanced)</a:t>
              </a:r>
            </a:p>
          </p:txBody>
        </p:sp>
        <p:sp>
          <p:nvSpPr>
            <p:cNvPr id="18" name="TextBox 13"/>
            <p:cNvSpPr txBox="1">
              <a:spLocks noChangeArrowheads="1"/>
            </p:cNvSpPr>
            <p:nvPr/>
          </p:nvSpPr>
          <p:spPr bwMode="auto">
            <a:xfrm>
              <a:off x="6650480" y="3657600"/>
              <a:ext cx="512320" cy="16312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9144">
              <a:spAutoFit/>
            </a:bodyPr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000" b="1">
                  <a:latin typeface="Gill Sans MT" pitchFamily="34" charset="0"/>
                </a:rPr>
                <a:t>Aviation</a:t>
              </a:r>
            </a:p>
          </p:txBody>
        </p:sp>
        <p:sp>
          <p:nvSpPr>
            <p:cNvPr id="19" name="TextBox 14"/>
            <p:cNvSpPr txBox="1">
              <a:spLocks noChangeArrowheads="1"/>
            </p:cNvSpPr>
            <p:nvPr/>
          </p:nvSpPr>
          <p:spPr bwMode="auto">
            <a:xfrm>
              <a:off x="4724400" y="3276600"/>
              <a:ext cx="431208" cy="16312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9144">
              <a:spAutoFit/>
            </a:bodyPr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000" b="1">
                  <a:latin typeface="Gill Sans MT" pitchFamily="34" charset="0"/>
                </a:rPr>
                <a:t>Marine</a:t>
              </a:r>
            </a:p>
          </p:txBody>
        </p:sp>
        <p:sp>
          <p:nvSpPr>
            <p:cNvPr id="20" name="TextBox 15"/>
            <p:cNvSpPr txBox="1">
              <a:spLocks noChangeArrowheads="1"/>
            </p:cNvSpPr>
            <p:nvPr/>
          </p:nvSpPr>
          <p:spPr bwMode="auto">
            <a:xfrm>
              <a:off x="5410200" y="2895600"/>
              <a:ext cx="775982" cy="3170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9144">
              <a:spAutoFit/>
            </a:bodyPr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000" b="1">
                  <a:latin typeface="Gill Sans MT" pitchFamily="34" charset="0"/>
                </a:rPr>
                <a:t>Employment</a:t>
              </a:r>
              <a:br>
                <a:rPr lang="en-US" sz="1000" b="1">
                  <a:latin typeface="Gill Sans MT" pitchFamily="34" charset="0"/>
                </a:rPr>
              </a:br>
              <a:r>
                <a:rPr lang="en-US" sz="1000" b="1">
                  <a:latin typeface="Gill Sans MT" pitchFamily="34" charset="0"/>
                </a:rPr>
                <a:t>Practices</a:t>
              </a:r>
            </a:p>
          </p:txBody>
        </p:sp>
        <p:sp>
          <p:nvSpPr>
            <p:cNvPr id="21" name="TextBox 16"/>
            <p:cNvSpPr txBox="1">
              <a:spLocks noChangeArrowheads="1"/>
            </p:cNvSpPr>
            <p:nvPr/>
          </p:nvSpPr>
          <p:spPr bwMode="auto">
            <a:xfrm>
              <a:off x="5791200" y="2640890"/>
              <a:ext cx="553870" cy="16312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9144">
              <a:spAutoFit/>
            </a:bodyPr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000" b="1">
                  <a:latin typeface="Gill Sans MT" pitchFamily="34" charset="0"/>
                </a:rPr>
                <a:t>Property</a:t>
              </a:r>
            </a:p>
          </p:txBody>
        </p:sp>
        <p:sp>
          <p:nvSpPr>
            <p:cNvPr id="22" name="TextBox 17"/>
            <p:cNvSpPr txBox="1">
              <a:spLocks noChangeArrowheads="1"/>
            </p:cNvSpPr>
            <p:nvPr/>
          </p:nvSpPr>
          <p:spPr bwMode="auto">
            <a:xfrm>
              <a:off x="6019800" y="3276600"/>
              <a:ext cx="445378" cy="16312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9144">
              <a:spAutoFit/>
            </a:bodyPr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000" b="1">
                  <a:latin typeface="Gill Sans MT" pitchFamily="34" charset="0"/>
                </a:rPr>
                <a:t>Library</a:t>
              </a:r>
            </a:p>
          </p:txBody>
        </p:sp>
        <p:sp>
          <p:nvSpPr>
            <p:cNvPr id="23" name="TextBox 18"/>
            <p:cNvSpPr txBox="1">
              <a:spLocks noChangeArrowheads="1"/>
            </p:cNvSpPr>
            <p:nvPr/>
          </p:nvSpPr>
          <p:spPr bwMode="auto">
            <a:xfrm>
              <a:off x="4572000" y="3581400"/>
              <a:ext cx="561564" cy="16312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9144">
              <a:spAutoFit/>
            </a:bodyPr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000" b="1">
                  <a:latin typeface="Gill Sans MT" pitchFamily="34" charset="0"/>
                </a:rPr>
                <a:t>Fine Arts</a:t>
              </a:r>
            </a:p>
          </p:txBody>
        </p:sp>
        <p:sp>
          <p:nvSpPr>
            <p:cNvPr id="24" name="TextBox 19"/>
            <p:cNvSpPr txBox="1">
              <a:spLocks noChangeArrowheads="1"/>
            </p:cNvSpPr>
            <p:nvPr/>
          </p:nvSpPr>
          <p:spPr bwMode="auto">
            <a:xfrm>
              <a:off x="6477000" y="3962400"/>
              <a:ext cx="514564" cy="3170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9144">
              <a:spAutoFit/>
            </a:bodyPr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000" b="1">
                  <a:latin typeface="Gill Sans MT" pitchFamily="34" charset="0"/>
                </a:rPr>
                <a:t>Boiler &amp;</a:t>
              </a:r>
              <a:br>
                <a:rPr lang="en-US" sz="1000" b="1">
                  <a:latin typeface="Gill Sans MT" pitchFamily="34" charset="0"/>
                </a:rPr>
              </a:br>
              <a:r>
                <a:rPr lang="en-US" sz="1000" b="1">
                  <a:latin typeface="Gill Sans MT" pitchFamily="34" charset="0"/>
                </a:rPr>
                <a:t>Machine</a:t>
              </a:r>
            </a:p>
          </p:txBody>
        </p:sp>
        <p:sp>
          <p:nvSpPr>
            <p:cNvPr id="25" name="TextBox 20"/>
            <p:cNvSpPr txBox="1">
              <a:spLocks noChangeArrowheads="1"/>
            </p:cNvSpPr>
            <p:nvPr/>
          </p:nvSpPr>
          <p:spPr bwMode="auto">
            <a:xfrm>
              <a:off x="5943600" y="3581400"/>
              <a:ext cx="503343" cy="3170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9144">
              <a:spAutoFit/>
            </a:bodyPr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000" b="1" dirty="0">
                  <a:latin typeface="Gill Sans MT" pitchFamily="34" charset="0"/>
                </a:rPr>
                <a:t>Builders</a:t>
              </a:r>
              <a:br>
                <a:rPr lang="en-US" sz="1000" b="1" dirty="0">
                  <a:latin typeface="Gill Sans MT" pitchFamily="34" charset="0"/>
                </a:rPr>
              </a:br>
              <a:r>
                <a:rPr lang="en-US" sz="1000" b="1" dirty="0">
                  <a:latin typeface="Gill Sans MT" pitchFamily="34" charset="0"/>
                </a:rPr>
                <a:t>Risk</a:t>
              </a:r>
            </a:p>
          </p:txBody>
        </p:sp>
        <p:sp>
          <p:nvSpPr>
            <p:cNvPr id="26" name="TextBox 21"/>
            <p:cNvSpPr txBox="1">
              <a:spLocks noChangeArrowheads="1"/>
            </p:cNvSpPr>
            <p:nvPr/>
          </p:nvSpPr>
          <p:spPr bwMode="auto">
            <a:xfrm>
              <a:off x="5018300" y="2499859"/>
              <a:ext cx="395941" cy="16312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9144">
              <a:spAutoFit/>
            </a:bodyPr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000" b="1">
                  <a:latin typeface="Gill Sans MT" pitchFamily="34" charset="0"/>
                </a:rPr>
                <a:t>Crime</a:t>
              </a:r>
            </a:p>
          </p:txBody>
        </p:sp>
        <p:sp>
          <p:nvSpPr>
            <p:cNvPr id="27" name="TextBox 22"/>
            <p:cNvSpPr txBox="1">
              <a:spLocks noChangeArrowheads="1"/>
            </p:cNvSpPr>
            <p:nvPr/>
          </p:nvSpPr>
          <p:spPr bwMode="auto">
            <a:xfrm>
              <a:off x="6400800" y="2776412"/>
              <a:ext cx="683007" cy="3170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9144">
              <a:spAutoFit/>
            </a:bodyPr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000" b="1">
                  <a:latin typeface="Gill Sans MT" pitchFamily="34" charset="0"/>
                </a:rPr>
                <a:t>Indentured</a:t>
              </a:r>
              <a:br>
                <a:rPr lang="en-US" sz="1000" b="1">
                  <a:latin typeface="Gill Sans MT" pitchFamily="34" charset="0"/>
                </a:rPr>
              </a:br>
              <a:r>
                <a:rPr lang="en-US" sz="1000" b="1">
                  <a:latin typeface="Gill Sans MT" pitchFamily="34" charset="0"/>
                </a:rPr>
                <a:t>Property</a:t>
              </a:r>
            </a:p>
          </p:txBody>
        </p:sp>
        <p:sp>
          <p:nvSpPr>
            <p:cNvPr id="28" name="TextBox 23"/>
            <p:cNvSpPr txBox="1">
              <a:spLocks noChangeArrowheads="1"/>
            </p:cNvSpPr>
            <p:nvPr/>
          </p:nvSpPr>
          <p:spPr bwMode="auto">
            <a:xfrm>
              <a:off x="4959991" y="3810000"/>
              <a:ext cx="344701" cy="1723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9144" tIns="9144" rIns="9144" bIns="9144">
              <a:spAutoFit/>
            </a:bodyPr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000" b="1">
                  <a:latin typeface="Gill Sans MT" pitchFamily="34" charset="0"/>
                </a:rPr>
                <a:t>Cargo</a:t>
              </a:r>
            </a:p>
          </p:txBody>
        </p:sp>
        <p:sp>
          <p:nvSpPr>
            <p:cNvPr id="29" name="TextBox 24"/>
            <p:cNvSpPr txBox="1">
              <a:spLocks noChangeArrowheads="1"/>
            </p:cNvSpPr>
            <p:nvPr/>
          </p:nvSpPr>
          <p:spPr bwMode="auto">
            <a:xfrm>
              <a:off x="4515249" y="2005179"/>
              <a:ext cx="843587" cy="32624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9144" tIns="9144" rIns="9144" bIns="9144">
              <a:spAutoFit/>
            </a:bodyPr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000" b="1">
                  <a:latin typeface="Gill Sans MT" pitchFamily="34" charset="0"/>
                </a:rPr>
                <a:t>Human Subject</a:t>
              </a:r>
              <a:br>
                <a:rPr lang="en-US" sz="1000" b="1">
                  <a:latin typeface="Gill Sans MT" pitchFamily="34" charset="0"/>
                </a:rPr>
              </a:br>
              <a:r>
                <a:rPr lang="en-US" sz="1000" b="1">
                  <a:latin typeface="Gill Sans MT" pitchFamily="34" charset="0"/>
                </a:rPr>
                <a:t>Injury</a:t>
              </a:r>
            </a:p>
          </p:txBody>
        </p:sp>
        <p:sp>
          <p:nvSpPr>
            <p:cNvPr id="30" name="TextBox 25"/>
            <p:cNvSpPr txBox="1">
              <a:spLocks noChangeArrowheads="1"/>
            </p:cNvSpPr>
            <p:nvPr/>
          </p:nvSpPr>
          <p:spPr bwMode="auto">
            <a:xfrm>
              <a:off x="5292617" y="3429000"/>
              <a:ext cx="499625" cy="32624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9144" tIns="9144" rIns="9144" bIns="9144">
              <a:spAutoFit/>
            </a:bodyPr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000" b="1">
                  <a:latin typeface="Gill Sans MT" pitchFamily="34" charset="0"/>
                </a:rPr>
                <a:t>Marine</a:t>
              </a:r>
              <a:br>
                <a:rPr lang="en-US" sz="1000" b="1">
                  <a:latin typeface="Gill Sans MT" pitchFamily="34" charset="0"/>
                </a:rPr>
              </a:br>
              <a:r>
                <a:rPr lang="en-US" sz="1000" b="1">
                  <a:latin typeface="Gill Sans MT" pitchFamily="34" charset="0"/>
                </a:rPr>
                <a:t>Pollution</a:t>
              </a:r>
            </a:p>
          </p:txBody>
        </p:sp>
        <p:sp>
          <p:nvSpPr>
            <p:cNvPr id="31" name="TextBox 26"/>
            <p:cNvSpPr txBox="1">
              <a:spLocks noChangeArrowheads="1"/>
            </p:cNvSpPr>
            <p:nvPr/>
          </p:nvSpPr>
          <p:spPr bwMode="auto">
            <a:xfrm>
              <a:off x="5745173" y="4953000"/>
              <a:ext cx="660235" cy="32624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9144" tIns="9144" rIns="9144" bIns="9144">
              <a:spAutoFit/>
            </a:bodyPr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000" b="1">
                  <a:latin typeface="Gill Sans MT" pitchFamily="34" charset="0"/>
                </a:rPr>
                <a:t>Terrorism –</a:t>
              </a:r>
              <a:br>
                <a:rPr lang="en-US" sz="1000" b="1">
                  <a:latin typeface="Gill Sans MT" pitchFamily="34" charset="0"/>
                </a:rPr>
              </a:br>
              <a:r>
                <a:rPr lang="en-US" sz="1000" b="1">
                  <a:latin typeface="Gill Sans MT" pitchFamily="34" charset="0"/>
                </a:rPr>
                <a:t>Property</a:t>
              </a:r>
            </a:p>
          </p:txBody>
        </p:sp>
        <p:sp>
          <p:nvSpPr>
            <p:cNvPr id="32" name="TextBox 27"/>
            <p:cNvSpPr txBox="1">
              <a:spLocks noChangeArrowheads="1"/>
            </p:cNvSpPr>
            <p:nvPr/>
          </p:nvSpPr>
          <p:spPr bwMode="auto">
            <a:xfrm>
              <a:off x="7187650" y="2514600"/>
              <a:ext cx="890491" cy="32624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9144" tIns="9144" rIns="9144" bIns="9144">
              <a:spAutoFit/>
            </a:bodyPr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000" b="1">
                  <a:latin typeface="Gill Sans MT" pitchFamily="34" charset="0"/>
                </a:rPr>
                <a:t>Be Smart About</a:t>
              </a:r>
              <a:br>
                <a:rPr lang="en-US" sz="1000" b="1">
                  <a:latin typeface="Gill Sans MT" pitchFamily="34" charset="0"/>
                </a:rPr>
              </a:br>
              <a:r>
                <a:rPr lang="en-US" sz="1000" b="1">
                  <a:latin typeface="Gill Sans MT" pitchFamily="34" charset="0"/>
                </a:rPr>
                <a:t>Safety (WC)</a:t>
              </a:r>
            </a:p>
          </p:txBody>
        </p:sp>
        <p:sp>
          <p:nvSpPr>
            <p:cNvPr id="33" name="TextBox 28"/>
            <p:cNvSpPr txBox="1">
              <a:spLocks noChangeArrowheads="1"/>
            </p:cNvSpPr>
            <p:nvPr/>
          </p:nvSpPr>
          <p:spPr bwMode="auto">
            <a:xfrm>
              <a:off x="7088949" y="4062579"/>
              <a:ext cx="668763" cy="32624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9144" tIns="9144" rIns="9144" bIns="9144">
              <a:spAutoFit/>
            </a:bodyPr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000" b="1" dirty="0">
                  <a:latin typeface="Gill Sans MT" pitchFamily="34" charset="0"/>
                </a:rPr>
                <a:t>Auto</a:t>
              </a:r>
              <a:br>
                <a:rPr lang="en-US" sz="1000" b="1" dirty="0">
                  <a:latin typeface="Gill Sans MT" pitchFamily="34" charset="0"/>
                </a:rPr>
              </a:br>
              <a:r>
                <a:rPr lang="en-US" sz="1000" b="1" dirty="0">
                  <a:latin typeface="Gill Sans MT" pitchFamily="34" charset="0"/>
                </a:rPr>
                <a:t>(First Party)</a:t>
              </a:r>
            </a:p>
          </p:txBody>
        </p:sp>
        <p:sp>
          <p:nvSpPr>
            <p:cNvPr id="34" name="TextBox 29"/>
            <p:cNvSpPr txBox="1">
              <a:spLocks noChangeArrowheads="1"/>
            </p:cNvSpPr>
            <p:nvPr/>
          </p:nvSpPr>
          <p:spPr bwMode="auto">
            <a:xfrm>
              <a:off x="6191932" y="1676400"/>
              <a:ext cx="572113" cy="32624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9144" tIns="9144" rIns="9144" bIns="9144">
              <a:spAutoFit/>
            </a:bodyPr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000" b="1">
                  <a:latin typeface="Gill Sans MT" pitchFamily="34" charset="0"/>
                </a:rPr>
                <a:t>Terrorism</a:t>
              </a:r>
              <a:br>
                <a:rPr lang="en-US" sz="1000" b="1">
                  <a:latin typeface="Gill Sans MT" pitchFamily="34" charset="0"/>
                </a:rPr>
              </a:br>
              <a:r>
                <a:rPr lang="en-US" sz="1000" b="1">
                  <a:latin typeface="Gill Sans MT" pitchFamily="34" charset="0"/>
                </a:rPr>
                <a:t>– GL &amp; PL</a:t>
              </a:r>
            </a:p>
          </p:txBody>
        </p:sp>
        <p:sp>
          <p:nvSpPr>
            <p:cNvPr id="35" name="TextBox 30"/>
            <p:cNvSpPr txBox="1">
              <a:spLocks noChangeArrowheads="1"/>
            </p:cNvSpPr>
            <p:nvPr/>
          </p:nvSpPr>
          <p:spPr bwMode="auto">
            <a:xfrm>
              <a:off x="7038489" y="1981200"/>
              <a:ext cx="1129273" cy="32624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9144" tIns="9144" rIns="9144" bIns="9144">
              <a:spAutoFit/>
            </a:bodyPr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000" b="1">
                  <a:latin typeface="Gill Sans MT" pitchFamily="34" charset="0"/>
                </a:rPr>
                <a:t>Travel </a:t>
              </a:r>
              <a:br>
                <a:rPr lang="en-US" sz="1000" b="1">
                  <a:latin typeface="Gill Sans MT" pitchFamily="34" charset="0"/>
                </a:rPr>
              </a:br>
              <a:r>
                <a:rPr lang="en-US" sz="1000" b="1">
                  <a:latin typeface="Gill Sans MT" pitchFamily="34" charset="0"/>
                </a:rPr>
                <a:t>(Enhanced Program)</a:t>
              </a:r>
            </a:p>
          </p:txBody>
        </p:sp>
        <p:sp>
          <p:nvSpPr>
            <p:cNvPr id="36" name="TextBox 31"/>
            <p:cNvSpPr txBox="1">
              <a:spLocks noChangeArrowheads="1"/>
            </p:cNvSpPr>
            <p:nvPr/>
          </p:nvSpPr>
          <p:spPr bwMode="auto">
            <a:xfrm>
              <a:off x="3542591" y="3124200"/>
              <a:ext cx="972928" cy="32624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9144" tIns="9144" rIns="9144" bIns="9144">
              <a:spAutoFit/>
            </a:bodyPr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000" b="1">
                  <a:latin typeface="Gill Sans MT" pitchFamily="34" charset="0"/>
                </a:rPr>
                <a:t>Threat &amp; Security</a:t>
              </a:r>
              <a:br>
                <a:rPr lang="en-US" sz="1000" b="1">
                  <a:latin typeface="Gill Sans MT" pitchFamily="34" charset="0"/>
                </a:rPr>
              </a:br>
              <a:r>
                <a:rPr lang="en-US" sz="1000" b="1">
                  <a:latin typeface="Gill Sans MT" pitchFamily="34" charset="0"/>
                </a:rPr>
                <a:t>(Special Risk)</a:t>
              </a:r>
            </a:p>
          </p:txBody>
        </p:sp>
        <p:sp>
          <p:nvSpPr>
            <p:cNvPr id="37" name="TextBox 32"/>
            <p:cNvSpPr txBox="1">
              <a:spLocks noChangeArrowheads="1"/>
            </p:cNvSpPr>
            <p:nvPr/>
          </p:nvSpPr>
          <p:spPr bwMode="auto">
            <a:xfrm>
              <a:off x="4686206" y="2819400"/>
              <a:ext cx="657393" cy="32624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9144" tIns="9144" rIns="9144" bIns="9144">
              <a:spAutoFit/>
            </a:bodyPr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000" b="1">
                  <a:latin typeface="Gill Sans MT" pitchFamily="34" charset="0"/>
                </a:rPr>
                <a:t>Mortgage</a:t>
              </a:r>
              <a:br>
                <a:rPr lang="en-US" sz="1000" b="1">
                  <a:latin typeface="Gill Sans MT" pitchFamily="34" charset="0"/>
                </a:rPr>
              </a:br>
              <a:r>
                <a:rPr lang="en-US" sz="1000" b="1">
                  <a:latin typeface="Gill Sans MT" pitchFamily="34" charset="0"/>
                </a:rPr>
                <a:t>Impairment</a:t>
              </a:r>
            </a:p>
          </p:txBody>
        </p:sp>
        <p:sp>
          <p:nvSpPr>
            <p:cNvPr id="38" name="TextBox 33"/>
            <p:cNvSpPr txBox="1">
              <a:spLocks noChangeArrowheads="1"/>
            </p:cNvSpPr>
            <p:nvPr/>
          </p:nvSpPr>
          <p:spPr bwMode="auto">
            <a:xfrm>
              <a:off x="7195971" y="4572000"/>
              <a:ext cx="920338" cy="4801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9144" tIns="9144" rIns="9144" bIns="9144">
              <a:spAutoFit/>
            </a:bodyPr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000" b="1">
                  <a:latin typeface="Gill Sans MT" pitchFamily="34" charset="0"/>
                </a:rPr>
                <a:t>Be Smart </a:t>
              </a:r>
              <a:br>
                <a:rPr lang="en-US" sz="1000" b="1">
                  <a:latin typeface="Gill Sans MT" pitchFamily="34" charset="0"/>
                </a:rPr>
              </a:br>
              <a:r>
                <a:rPr lang="en-US" sz="1000" b="1">
                  <a:latin typeface="Gill Sans MT" pitchFamily="34" charset="0"/>
                </a:rPr>
                <a:t>About Safety</a:t>
              </a:r>
              <a:br>
                <a:rPr lang="en-US" sz="1000" b="1">
                  <a:latin typeface="Gill Sans MT" pitchFamily="34" charset="0"/>
                </a:rPr>
              </a:br>
              <a:r>
                <a:rPr lang="en-US" sz="1000" b="1">
                  <a:latin typeface="Gill Sans MT" pitchFamily="34" charset="0"/>
                </a:rPr>
                <a:t>(GL, Prop, Auto)</a:t>
              </a:r>
            </a:p>
          </p:txBody>
        </p:sp>
        <p:sp>
          <p:nvSpPr>
            <p:cNvPr id="39" name="TextBox 34"/>
            <p:cNvSpPr txBox="1">
              <a:spLocks noChangeArrowheads="1"/>
            </p:cNvSpPr>
            <p:nvPr/>
          </p:nvSpPr>
          <p:spPr bwMode="auto">
            <a:xfrm>
              <a:off x="5065876" y="1295400"/>
              <a:ext cx="874856" cy="4801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9144" tIns="9144" rIns="9144" bIns="9144">
              <a:spAutoFit/>
            </a:bodyPr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000" b="1">
                  <a:latin typeface="Gill Sans MT" pitchFamily="34" charset="0"/>
                </a:rPr>
                <a:t>Foundations,</a:t>
              </a:r>
              <a:br>
                <a:rPr lang="en-US" sz="1000" b="1">
                  <a:latin typeface="Gill Sans MT" pitchFamily="34" charset="0"/>
                </a:rPr>
              </a:br>
              <a:r>
                <a:rPr lang="en-US" sz="1000" b="1">
                  <a:latin typeface="Gill Sans MT" pitchFamily="34" charset="0"/>
                </a:rPr>
                <a:t>Alumni, &amp;</a:t>
              </a:r>
              <a:br>
                <a:rPr lang="en-US" sz="1000" b="1">
                  <a:latin typeface="Gill Sans MT" pitchFamily="34" charset="0"/>
                </a:rPr>
              </a:br>
              <a:r>
                <a:rPr lang="en-US" sz="1000" b="1">
                  <a:latin typeface="Gill Sans MT" pitchFamily="34" charset="0"/>
                </a:rPr>
                <a:t>Support Groups</a:t>
              </a:r>
            </a:p>
          </p:txBody>
        </p:sp>
        <p:sp>
          <p:nvSpPr>
            <p:cNvPr id="40" name="TextBox 35"/>
            <p:cNvSpPr txBox="1">
              <a:spLocks noChangeArrowheads="1"/>
            </p:cNvSpPr>
            <p:nvPr/>
          </p:nvSpPr>
          <p:spPr bwMode="auto">
            <a:xfrm>
              <a:off x="7195832" y="5257800"/>
              <a:ext cx="880541" cy="32624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9144" tIns="9144" rIns="9144" bIns="9144">
              <a:spAutoFit/>
            </a:bodyPr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000" b="1">
                  <a:latin typeface="Gill Sans MT" pitchFamily="34" charset="0"/>
                </a:rPr>
                <a:t>Cyber &amp; Privacy</a:t>
              </a:r>
              <a:br>
                <a:rPr lang="en-US" sz="1000" b="1">
                  <a:latin typeface="Gill Sans MT" pitchFamily="34" charset="0"/>
                </a:rPr>
              </a:br>
              <a:r>
                <a:rPr lang="en-US" sz="1000" b="1">
                  <a:latin typeface="Gill Sans MT" pitchFamily="34" charset="0"/>
                </a:rPr>
                <a:t>Liability</a:t>
              </a:r>
            </a:p>
          </p:txBody>
        </p:sp>
        <p:sp>
          <p:nvSpPr>
            <p:cNvPr id="41" name="TextBox 36"/>
            <p:cNvSpPr txBox="1">
              <a:spLocks noChangeArrowheads="1"/>
            </p:cNvSpPr>
            <p:nvPr/>
          </p:nvSpPr>
          <p:spPr bwMode="auto">
            <a:xfrm>
              <a:off x="3373014" y="4495800"/>
              <a:ext cx="955872" cy="32624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9144" tIns="9144" rIns="9144" bIns="9144">
              <a:spAutoFit/>
            </a:bodyPr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000" b="1">
                  <a:latin typeface="Gill Sans MT" pitchFamily="34" charset="0"/>
                </a:rPr>
                <a:t>Environmental</a:t>
              </a:r>
              <a:br>
                <a:rPr lang="en-US" sz="1000" b="1">
                  <a:latin typeface="Gill Sans MT" pitchFamily="34" charset="0"/>
                </a:rPr>
              </a:br>
              <a:r>
                <a:rPr lang="en-US" sz="1000" b="1">
                  <a:latin typeface="Gill Sans MT" pitchFamily="34" charset="0"/>
                </a:rPr>
                <a:t>Pollution Liability</a:t>
              </a:r>
            </a:p>
          </p:txBody>
        </p:sp>
        <p:sp>
          <p:nvSpPr>
            <p:cNvPr id="42" name="TextBox 37"/>
            <p:cNvSpPr txBox="1">
              <a:spLocks noChangeArrowheads="1"/>
            </p:cNvSpPr>
            <p:nvPr/>
          </p:nvSpPr>
          <p:spPr bwMode="auto">
            <a:xfrm>
              <a:off x="3838013" y="1524000"/>
              <a:ext cx="714246" cy="32624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9144" tIns="9144" rIns="9144" bIns="9144">
              <a:spAutoFit/>
            </a:bodyPr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000" b="1">
                  <a:latin typeface="Gill Sans MT" pitchFamily="34" charset="0"/>
                </a:rPr>
                <a:t>Recreation &amp;</a:t>
              </a:r>
              <a:br>
                <a:rPr lang="en-US" sz="1000" b="1">
                  <a:latin typeface="Gill Sans MT" pitchFamily="34" charset="0"/>
                </a:rPr>
              </a:br>
              <a:r>
                <a:rPr lang="en-US" sz="1000" b="1">
                  <a:latin typeface="Gill Sans MT" pitchFamily="34" charset="0"/>
                </a:rPr>
                <a:t>Club Sports*</a:t>
              </a:r>
            </a:p>
          </p:txBody>
        </p:sp>
        <p:sp>
          <p:nvSpPr>
            <p:cNvPr id="43" name="TextBox 38"/>
            <p:cNvSpPr txBox="1">
              <a:spLocks noChangeArrowheads="1"/>
            </p:cNvSpPr>
            <p:nvPr/>
          </p:nvSpPr>
          <p:spPr bwMode="auto">
            <a:xfrm>
              <a:off x="4522404" y="4724400"/>
              <a:ext cx="867750" cy="32624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9144" tIns="9144" rIns="9144" bIns="9144">
              <a:spAutoFit/>
            </a:bodyPr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000" b="1">
                  <a:latin typeface="Gill Sans MT" pitchFamily="34" charset="0"/>
                </a:rPr>
                <a:t>Licensing Board</a:t>
              </a:r>
              <a:br>
                <a:rPr lang="en-US" sz="1000" b="1">
                  <a:latin typeface="Gill Sans MT" pitchFamily="34" charset="0"/>
                </a:rPr>
              </a:br>
              <a:r>
                <a:rPr lang="en-US" sz="1000" b="1">
                  <a:latin typeface="Gill Sans MT" pitchFamily="34" charset="0"/>
                </a:rPr>
                <a:t>Representation</a:t>
              </a:r>
            </a:p>
          </p:txBody>
        </p:sp>
        <p:sp>
          <p:nvSpPr>
            <p:cNvPr id="44" name="TextBox 39"/>
            <p:cNvSpPr txBox="1">
              <a:spLocks noChangeArrowheads="1"/>
            </p:cNvSpPr>
            <p:nvPr/>
          </p:nvSpPr>
          <p:spPr bwMode="auto">
            <a:xfrm>
              <a:off x="3672589" y="2209800"/>
              <a:ext cx="623281" cy="4801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9144" tIns="9144" rIns="9144" bIns="9144">
              <a:spAutoFit/>
            </a:bodyPr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000" b="1">
                  <a:latin typeface="Gill Sans MT" pitchFamily="34" charset="0"/>
                </a:rPr>
                <a:t>Threat &amp;</a:t>
              </a:r>
              <a:br>
                <a:rPr lang="en-US" sz="1000" b="1">
                  <a:latin typeface="Gill Sans MT" pitchFamily="34" charset="0"/>
                </a:rPr>
              </a:br>
              <a:r>
                <a:rPr lang="en-US" sz="1000" b="1">
                  <a:latin typeface="Gill Sans MT" pitchFamily="34" charset="0"/>
                </a:rPr>
                <a:t>Security</a:t>
              </a:r>
              <a:br>
                <a:rPr lang="en-US" sz="1000" b="1">
                  <a:latin typeface="Gill Sans MT" pitchFamily="34" charset="0"/>
                </a:rPr>
              </a:br>
              <a:r>
                <a:rPr lang="en-US" sz="1000" b="1">
                  <a:latin typeface="Gill Sans MT" pitchFamily="34" charset="0"/>
                </a:rPr>
                <a:t>(Enhanced)</a:t>
              </a:r>
            </a:p>
          </p:txBody>
        </p:sp>
        <p:sp>
          <p:nvSpPr>
            <p:cNvPr id="45" name="TextBox 40"/>
            <p:cNvSpPr txBox="1">
              <a:spLocks noChangeArrowheads="1"/>
            </p:cNvSpPr>
            <p:nvPr/>
          </p:nvSpPr>
          <p:spPr bwMode="auto">
            <a:xfrm>
              <a:off x="5213617" y="762000"/>
              <a:ext cx="638916" cy="32624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9144" tIns="9144" rIns="9144" bIns="9144">
              <a:spAutoFit/>
            </a:bodyPr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000" b="1">
                  <a:latin typeface="Gill Sans MT" pitchFamily="34" charset="0"/>
                </a:rPr>
                <a:t>Directors &amp;</a:t>
              </a:r>
              <a:br>
                <a:rPr lang="en-US" sz="1000" b="1">
                  <a:latin typeface="Gill Sans MT" pitchFamily="34" charset="0"/>
                </a:rPr>
              </a:br>
              <a:r>
                <a:rPr lang="en-US" sz="1000" b="1">
                  <a:latin typeface="Gill Sans MT" pitchFamily="34" charset="0"/>
                </a:rPr>
                <a:t>Officers</a:t>
              </a:r>
            </a:p>
          </p:txBody>
        </p:sp>
        <p:sp>
          <p:nvSpPr>
            <p:cNvPr id="46" name="TextBox 41"/>
            <p:cNvSpPr txBox="1">
              <a:spLocks noChangeArrowheads="1"/>
            </p:cNvSpPr>
            <p:nvPr/>
          </p:nvSpPr>
          <p:spPr bwMode="auto">
            <a:xfrm>
              <a:off x="4146694" y="5334000"/>
              <a:ext cx="1038309" cy="32624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9144" tIns="9144" rIns="9144" bIns="9144">
              <a:spAutoFit/>
            </a:bodyPr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000" b="1">
                  <a:latin typeface="Gill Sans MT" pitchFamily="34" charset="0"/>
                </a:rPr>
                <a:t>Registered Student</a:t>
              </a:r>
              <a:br>
                <a:rPr lang="en-US" sz="1000" b="1">
                  <a:latin typeface="Gill Sans MT" pitchFamily="34" charset="0"/>
                </a:rPr>
              </a:br>
              <a:r>
                <a:rPr lang="en-US" sz="1000" b="1">
                  <a:latin typeface="Gill Sans MT" pitchFamily="34" charset="0"/>
                </a:rPr>
                <a:t>Organizations*</a:t>
              </a:r>
            </a:p>
          </p:txBody>
        </p:sp>
        <p:sp>
          <p:nvSpPr>
            <p:cNvPr id="47" name="TextBox 42"/>
            <p:cNvSpPr txBox="1">
              <a:spLocks noChangeArrowheads="1"/>
            </p:cNvSpPr>
            <p:nvPr/>
          </p:nvSpPr>
          <p:spPr bwMode="auto">
            <a:xfrm>
              <a:off x="7788718" y="3657600"/>
              <a:ext cx="832215" cy="32624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9144" tIns="9144" rIns="9144" bIns="9144">
              <a:spAutoFit/>
            </a:bodyPr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000" b="1">
                  <a:latin typeface="Gill Sans MT" pitchFamily="34" charset="0"/>
                </a:rPr>
                <a:t>Tenant Users</a:t>
              </a:r>
              <a:br>
                <a:rPr lang="en-US" sz="1000" b="1">
                  <a:latin typeface="Gill Sans MT" pitchFamily="34" charset="0"/>
                </a:rPr>
              </a:br>
              <a:r>
                <a:rPr lang="en-US" sz="1000" b="1">
                  <a:latin typeface="Gill Sans MT" pitchFamily="34" charset="0"/>
                </a:rPr>
                <a:t>Event Liability*</a:t>
              </a:r>
            </a:p>
          </p:txBody>
        </p:sp>
        <p:sp>
          <p:nvSpPr>
            <p:cNvPr id="48" name="TextBox 43"/>
            <p:cNvSpPr txBox="1">
              <a:spLocks noChangeArrowheads="1"/>
            </p:cNvSpPr>
            <p:nvPr/>
          </p:nvSpPr>
          <p:spPr bwMode="auto">
            <a:xfrm>
              <a:off x="6199488" y="914400"/>
              <a:ext cx="702876" cy="32624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9144" tIns="9144" rIns="9144" bIns="9144">
              <a:spAutoFit/>
            </a:bodyPr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000" b="1">
                  <a:latin typeface="Gill Sans MT" pitchFamily="34" charset="0"/>
                </a:rPr>
                <a:t>Recognized</a:t>
              </a:r>
              <a:br>
                <a:rPr lang="en-US" sz="1000" b="1">
                  <a:latin typeface="Gill Sans MT" pitchFamily="34" charset="0"/>
                </a:rPr>
              </a:br>
              <a:r>
                <a:rPr lang="en-US" sz="1000" b="1">
                  <a:latin typeface="Gill Sans MT" pitchFamily="34" charset="0"/>
                </a:rPr>
                <a:t>Sports Club*</a:t>
              </a:r>
            </a:p>
          </p:txBody>
        </p:sp>
        <p:sp>
          <p:nvSpPr>
            <p:cNvPr id="49" name="TextBox 44"/>
            <p:cNvSpPr txBox="1">
              <a:spLocks noChangeArrowheads="1"/>
            </p:cNvSpPr>
            <p:nvPr/>
          </p:nvSpPr>
          <p:spPr bwMode="auto">
            <a:xfrm>
              <a:off x="7046702" y="1219200"/>
              <a:ext cx="505311" cy="32624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9144" tIns="9144" rIns="9144" bIns="9144">
              <a:spAutoFit/>
            </a:bodyPr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000" b="1">
                  <a:latin typeface="Gill Sans MT" pitchFamily="34" charset="0"/>
                </a:rPr>
                <a:t>Camps &amp;</a:t>
              </a:r>
              <a:br>
                <a:rPr lang="en-US" sz="1000" b="1">
                  <a:latin typeface="Gill Sans MT" pitchFamily="34" charset="0"/>
                </a:rPr>
              </a:br>
              <a:r>
                <a:rPr lang="en-US" sz="1000" b="1">
                  <a:latin typeface="Gill Sans MT" pitchFamily="34" charset="0"/>
                </a:rPr>
                <a:t>Clinics*</a:t>
              </a:r>
            </a:p>
          </p:txBody>
        </p:sp>
        <p:sp>
          <p:nvSpPr>
            <p:cNvPr id="50" name="TextBox 45"/>
            <p:cNvSpPr txBox="1">
              <a:spLocks noChangeArrowheads="1"/>
            </p:cNvSpPr>
            <p:nvPr/>
          </p:nvSpPr>
          <p:spPr bwMode="auto">
            <a:xfrm>
              <a:off x="6587188" y="5562600"/>
              <a:ext cx="719932" cy="32624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9144" tIns="9144" rIns="9144" bIns="9144">
              <a:spAutoFit/>
            </a:bodyPr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000" b="1">
                  <a:latin typeface="Gill Sans MT" pitchFamily="34" charset="0"/>
                </a:rPr>
                <a:t>Vendors &amp;</a:t>
              </a:r>
              <a:br>
                <a:rPr lang="en-US" sz="1000" b="1">
                  <a:latin typeface="Gill Sans MT" pitchFamily="34" charset="0"/>
                </a:rPr>
              </a:br>
              <a:r>
                <a:rPr lang="en-US" sz="1000" b="1">
                  <a:latin typeface="Gill Sans MT" pitchFamily="34" charset="0"/>
                </a:rPr>
                <a:t>Contractors*</a:t>
              </a:r>
            </a:p>
          </p:txBody>
        </p:sp>
        <p:sp>
          <p:nvSpPr>
            <p:cNvPr id="51" name="TextBox 46"/>
            <p:cNvSpPr txBox="1">
              <a:spLocks noChangeArrowheads="1"/>
            </p:cNvSpPr>
            <p:nvPr/>
          </p:nvSpPr>
          <p:spPr bwMode="auto">
            <a:xfrm>
              <a:off x="5332219" y="5648643"/>
              <a:ext cx="1174756" cy="6081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9144" tIns="9144" rIns="9144" bIns="9144">
              <a:spAutoFit/>
            </a:bodyPr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000" b="1">
                  <a:latin typeface="Gill Sans MT" pitchFamily="34" charset="0"/>
                </a:rPr>
                <a:t>University Controlled</a:t>
              </a:r>
              <a:br>
                <a:rPr lang="en-US" sz="1000" b="1">
                  <a:latin typeface="Gill Sans MT" pitchFamily="34" charset="0"/>
                </a:rPr>
              </a:br>
              <a:r>
                <a:rPr lang="en-US" sz="1000" b="1">
                  <a:latin typeface="Gill Sans MT" pitchFamily="34" charset="0"/>
                </a:rPr>
                <a:t>Insurance Program</a:t>
              </a:r>
              <a:br>
                <a:rPr lang="en-US" sz="1000" b="1">
                  <a:latin typeface="Gill Sans MT" pitchFamily="34" charset="0"/>
                </a:rPr>
              </a:br>
              <a:r>
                <a:rPr lang="en-US" sz="1000" b="1">
                  <a:latin typeface="Gill Sans MT" pitchFamily="34" charset="0"/>
                </a:rPr>
                <a:t>(Construction)</a:t>
              </a:r>
            </a:p>
          </p:txBody>
        </p:sp>
        <p:sp>
          <p:nvSpPr>
            <p:cNvPr id="52" name="TextBox 47"/>
            <p:cNvSpPr txBox="1">
              <a:spLocks noChangeArrowheads="1"/>
            </p:cNvSpPr>
            <p:nvPr/>
          </p:nvSpPr>
          <p:spPr bwMode="auto">
            <a:xfrm>
              <a:off x="4202546" y="1066800"/>
              <a:ext cx="506732" cy="1723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9144" tIns="9144" rIns="9144" bIns="9144">
              <a:spAutoFit/>
            </a:bodyPr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000" b="1">
                  <a:latin typeface="Gill Sans MT" pitchFamily="34" charset="0"/>
                </a:rPr>
                <a:t>Fiduciary</a:t>
              </a:r>
            </a:p>
          </p:txBody>
        </p:sp>
        <p:sp>
          <p:nvSpPr>
            <p:cNvPr id="53" name="Rectangle 52"/>
            <p:cNvSpPr/>
            <p:nvPr/>
          </p:nvSpPr>
          <p:spPr>
            <a:xfrm>
              <a:off x="6857875" y="3272045"/>
              <a:ext cx="1920028" cy="23981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lang="en-US" sz="1000" b="1">
                <a:solidFill>
                  <a:srgbClr val="FFFFFF"/>
                </a:solidFill>
              </a:endParaRPr>
            </a:p>
          </p:txBody>
        </p:sp>
        <p:grpSp>
          <p:nvGrpSpPr>
            <p:cNvPr id="3" name="Group 53"/>
            <p:cNvGrpSpPr>
              <a:grpSpLocks/>
            </p:cNvGrpSpPr>
            <p:nvPr/>
          </p:nvGrpSpPr>
          <p:grpSpPr bwMode="auto">
            <a:xfrm>
              <a:off x="6928809" y="3276600"/>
              <a:ext cx="1779157" cy="172355"/>
              <a:chOff x="6928809" y="3276600"/>
              <a:chExt cx="1779157" cy="172355"/>
            </a:xfrm>
          </p:grpSpPr>
          <p:sp>
            <p:nvSpPr>
              <p:cNvPr id="56" name="TextBox 47"/>
              <p:cNvSpPr txBox="1">
                <a:spLocks noChangeArrowheads="1"/>
              </p:cNvSpPr>
              <p:nvPr/>
            </p:nvSpPr>
            <p:spPr bwMode="auto">
              <a:xfrm>
                <a:off x="6928809" y="3276600"/>
                <a:ext cx="255157" cy="17235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9144" tIns="9144" rIns="9144" bIns="9144">
                <a:spAutoFit/>
              </a:bodyPr>
              <a:lstStyle>
                <a:defPPr>
                  <a:defRPr lang="en-US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Times" pitchFamily="96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Times" pitchFamily="96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Times" pitchFamily="96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Times" pitchFamily="96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Times" pitchFamily="96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2400" kern="1200">
                    <a:solidFill>
                      <a:schemeClr val="tx1"/>
                    </a:solidFill>
                    <a:latin typeface="Times" pitchFamily="96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2400" kern="1200">
                    <a:solidFill>
                      <a:schemeClr val="tx1"/>
                    </a:solidFill>
                    <a:latin typeface="Times" pitchFamily="96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2400" kern="1200">
                    <a:solidFill>
                      <a:schemeClr val="tx1"/>
                    </a:solidFill>
                    <a:latin typeface="Times" pitchFamily="96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2400" kern="1200">
                    <a:solidFill>
                      <a:schemeClr val="tx1"/>
                    </a:solidFill>
                    <a:latin typeface="Times" pitchFamily="96" charset="0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en-US" sz="1000" b="1" i="1">
                    <a:latin typeface="Gill Sans MT" pitchFamily="34" charset="0"/>
                  </a:rPr>
                  <a:t>2004</a:t>
                </a:r>
              </a:p>
            </p:txBody>
          </p:sp>
          <p:sp>
            <p:nvSpPr>
              <p:cNvPr id="57" name="TextBox 52"/>
              <p:cNvSpPr txBox="1">
                <a:spLocks noChangeArrowheads="1"/>
              </p:cNvSpPr>
              <p:nvPr/>
            </p:nvSpPr>
            <p:spPr bwMode="auto">
              <a:xfrm>
                <a:off x="8452809" y="3276600"/>
                <a:ext cx="255157" cy="17235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9144" tIns="9144" rIns="9144" bIns="9144">
                <a:spAutoFit/>
              </a:bodyPr>
              <a:lstStyle>
                <a:defPPr>
                  <a:defRPr lang="en-US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Times" pitchFamily="96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Times" pitchFamily="96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Times" pitchFamily="96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Times" pitchFamily="96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Times" pitchFamily="96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2400" kern="1200">
                    <a:solidFill>
                      <a:schemeClr val="tx1"/>
                    </a:solidFill>
                    <a:latin typeface="Times" pitchFamily="96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2400" kern="1200">
                    <a:solidFill>
                      <a:schemeClr val="tx1"/>
                    </a:solidFill>
                    <a:latin typeface="Times" pitchFamily="96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2400" kern="1200">
                    <a:solidFill>
                      <a:schemeClr val="tx1"/>
                    </a:solidFill>
                    <a:latin typeface="Times" pitchFamily="96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2400" kern="1200">
                    <a:solidFill>
                      <a:schemeClr val="tx1"/>
                    </a:solidFill>
                    <a:latin typeface="Times" pitchFamily="96" charset="0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en-US" sz="1000" b="1" i="1">
                    <a:latin typeface="Gill Sans MT" pitchFamily="34" charset="0"/>
                  </a:rPr>
                  <a:t>2010</a:t>
                </a:r>
              </a:p>
            </p:txBody>
          </p:sp>
          <p:cxnSp>
            <p:nvCxnSpPr>
              <p:cNvPr id="58" name="Straight Arrow Connector 57"/>
              <p:cNvCxnSpPr>
                <a:endCxn id="57" idx="1"/>
              </p:cNvCxnSpPr>
              <p:nvPr/>
            </p:nvCxnSpPr>
            <p:spPr>
              <a:xfrm>
                <a:off x="7183845" y="3361747"/>
                <a:ext cx="1268087" cy="1830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tailEnd type="stealth" w="lg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55" name="TextBox 50"/>
            <p:cNvSpPr txBox="1">
              <a:spLocks noChangeArrowheads="1"/>
            </p:cNvSpPr>
            <p:nvPr/>
          </p:nvSpPr>
          <p:spPr bwMode="auto">
            <a:xfrm>
              <a:off x="7450637" y="6248400"/>
              <a:ext cx="1534352" cy="1723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9144" tIns="9144" rIns="9144" bIns="9144">
              <a:spAutoFit/>
            </a:bodyPr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" pitchFamily="96" charset="0"/>
                  <a:ea typeface="+mn-ea"/>
                  <a:cs typeface="+mn-cs"/>
                </a:defRPr>
              </a:lvl9pPr>
            </a:lstStyle>
            <a:p>
              <a:pPr algn="r"/>
              <a:r>
                <a:rPr lang="en-US" sz="1000" b="1">
                  <a:latin typeface="Gill Sans MT" pitchFamily="34" charset="0"/>
                </a:rPr>
                <a:t>*Part of CampusConnexions</a:t>
              </a:r>
            </a:p>
          </p:txBody>
        </p:sp>
      </p:grpSp>
      <p:sp>
        <p:nvSpPr>
          <p:cNvPr id="59" name="TextBox 58"/>
          <p:cNvSpPr txBox="1"/>
          <p:nvPr/>
        </p:nvSpPr>
        <p:spPr>
          <a:xfrm>
            <a:off x="838200" y="1295400"/>
            <a:ext cx="1981200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200" dirty="0" smtClean="0"/>
              <a:t>The expanding universe of risk… </a:t>
            </a:r>
            <a:endParaRPr lang="en-US" sz="2200" dirty="0"/>
          </a:p>
        </p:txBody>
      </p:sp>
    </p:spTree>
    <p:custDataLst>
      <p:tags r:id="rId1"/>
    </p:custDataLst>
  </p:cSld>
  <p:clrMapOvr>
    <a:masterClrMapping/>
  </p:clrMapOvr>
  <p:transition xmlns:p14="http://schemas.microsoft.com/office/powerpoint/2010/main">
    <p:cut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Rectangle 2"/>
          <p:cNvSpPr>
            <a:spLocks noGrp="1" noChangeArrowheads="1"/>
          </p:cNvSpPr>
          <p:nvPr>
            <p:ph type="title"/>
          </p:nvPr>
        </p:nvSpPr>
        <p:spPr>
          <a:xfrm>
            <a:off x="762000" y="838200"/>
            <a:ext cx="8153400" cy="304800"/>
          </a:xfrm>
        </p:spPr>
        <p:txBody>
          <a:bodyPr/>
          <a:lstStyle/>
          <a:p>
            <a:pPr lvl="1"/>
            <a:r>
              <a:rPr lang="en-US" sz="2300" dirty="0" smtClean="0"/>
              <a:t>Case Study A:  Part 3 – Technical Lesson (in detail)</a:t>
            </a:r>
          </a:p>
        </p:txBody>
      </p:sp>
      <p:sp>
        <p:nvSpPr>
          <p:cNvPr id="93188" name="AutoShape 4" descr="data:image/jpg;base64,/9j/4AAQSkZJRgABAQAAAQABAAD/2wCEAAkGBhQSDhQQEA8QEBQUEBkQFA4QFhEQFBAQFBwWFRUQFRQYHycqFxkjGRUTHy8iIycsLCwsFR4xQTIqNSYrLSkBCQoKBQUFDQUFDSkYEhgpKSkpKSkpKSkpKSkpKSkpKSkpKSkpKSkpKSkpKSkpKSkpKSkpKSkpKSkpKSkpKSkpKf/AABEIAMwA9wMBIgACEQEDEQH/xAAbAAACAwEBAQAAAAAAAAAAAAAABAMFBgECB//EAEkQAAIBAQMEDQkIAQMDBQEAAAECAwAEERIFEyFTBhQVIzEzUVJzkZKT0iIyQVRxsbLR0wc0QmFiY3Kis0OBoSR0dRY1NsHCCP/EABQBAQAAAAAAAAAAAAAAAAAAAAD/xAAUEQEAAAAAAAAAAAAAAAAAAAAA/9oADAMBAAIRAxEAPwD7PLaXzhRERrkViWcp5xYXABTzf+a5nJtXF3j/AE67H94foo/ilpqgUzk2ri7x/p0ZybVxd4/06booFM5Nq4u8f6dGcm1cXeP9Om6KBTOTauLvH+nRnJtXF3j/AE6booFM5Nq4u8f6dGcm1cXeP9Om6KBTOTauLvH+nRnJtXF3j/TrL5O+0FpctS5KNjwtCpkefPBlzVyFXC4LyTnI9HovOnRV3YNl1kmWV4bVFKsK4pShLZpdOluTzT1Ggdzk2ri7x/p0ZybVxd4/06rZNnNhWBLQ1tgELsUSYtcjuvnKG4CR/wDR5KnynssslnEZtFqihEq4o84cOcGjzb+HhGj86BvOTauLvH+nRnJtXF3j/TqOfL0CWiOzPMizSrijhN+J106VHpHknqqHZRsijsNjltc2IpGAcK6WdmIVUH5liBQNZybVxd4/06M5Nq4u8f6dYXYr9sAtNshslpsEtia0xCazu7iRZkYMVbzVuDBWuOm8i6qu1f8A9ARLLI0eT55bLHMIXtiuo8psWErGRpvCORew0D0UH07OTauLvH+nRnJtXF3j/TrH7LPtjsNiiVlfbUsiJIlniNzZuRQ6u7Eb2CjAgHSbxo9Ij2WfbNZLEqLcbROwUtZYmF8IYBt8e64EXjRw/kKDaZybVxd4/wBOjOTauLvH+nTQNdoFM5Nq4u8f6dGcm1cXeP8ATpuigUzk2ri7x/p0ZybVxd4/06booFM5Nq4u8f6dGcm1cXeP9Om6KBTOTauLvH+nRnJtXF3j/TpuigWs1oYuyOiqQqterFwQxYelRd5v/NFcj+8P0UfxS0UBH94foo/ilpqlY/vD9FH8UtNUBRRRQFFFFAUUUUBRRRQfJtjv/wA5yh/2Q+Gx1P8AZMdGWf8AyU3/AOqNhViefZPlDKcattUxbWSZlZBLKogVgmIDEAYXvI/Llq+H2evFPa3sVuazJbWMk0LRJNhka/FJC5YYCcR4Qw6hQfNNkf8A8Lyb/wB2nvtNfTPtY2ObcyTMqm6WAbbhN9xDxXkge1cS+0jkrxsk+zGO05Ns+TYp2s8NnZXBwCV3KBlUkkgaS7k6NJPopj/0VO00882UM7JLYmsKnMIiQxu2JmCB/KY/meTkuoEfs0tj5QUZXnW5mgWxwryLHcbTLcDozk4YfxiWtXsgyLBarM0FrQPCbnZWZox5BxAllIIAIv4fRSOwfYtudYlsYmz6ozFHKCMgOS5U3E3+UW06OGvOz/ItoteTZrLZJEiklATHIWVc2SM4pKgnSt44PTQfKNg9lGU9kBtkCFLFk6IQ2cHEd7jVo7OgLabz5chvvI4Dw18/yd/7Ba//ACFl+C019m+znYRlbJ7xwSTZP2mHd5o4gxlkLKbjiMYvN+AcPAt1Ze0fYdlBBNYoJrIbJLaUnz0hkEqiISKgKheG6Q3gX3kDSNNAl9p2S4l2O5JtCwxrK8MKvMqqHdRZxcGYC9rsK3X8F1TfbrkyJLPk2ZIY0kkRs5KiqrS3JBdjYDyrrzw8tbn7QvsymteS7HYbJJENq4VxTlkxIkebB8lW0nQaj+077NrTlGz2KKzvZ1azKwcys6gkrGow4UN+lDw3eig+lrwV2uCu0BRRRQFFFFAUUUUBRRRQKx/eH6KP4paKI/vD9FH8UtFBE8xW0PdG771HpUxi7ypecwqXbjery9cHjoRv+ofoo/ilpLZRY89Y5IlMt7YQDCY8YuZTiukIV1F17KfOUMum+6gd22/q8vXB46NuN6vL1weOvncOxm1XPnLLGpkzUxWJohEjR2aeJogpbyTnGW4C8DH51wJGm2FZJls2ejm0qrJFBKSpaSzIt8eO4+egbNknhzd/poL7bjery9cHjo243q8vXB46ZxjlFUmzHJW2rC9mUm+Ro1xIQGjGcQmUEkaVALcuigstuN6vL1weOjbjery9cHjr53FsZtmcd7TDtgSSvJLEjxYZJpbJCiugZh5CTCdBfcRjVrvSHtj2xy1w2yB5TnUJU2h2dTdaYbKIBaUBN5Ehd1bRffGhu0mg223G9Xl64PHRtxvV5euDx0xjHKK7jHKKBbbbery9cHjo22/q8vXB46zuXtjQmyhFKIUZTZ5xLKSuic7W2uTeb9Gae64XDTzjfl//AEraTHZcVlJzUMEMqE2aQsYbLaonNzOAymWWIAk+jFoABoPpW3G9Xl64PHRtxvV5euDx1NEwwjgGgaL77vyvr3jHKKBbbjery9cHjo22/q8vXB46yez3Y5NaZFay6C9knsssiuEZL83PAwvIv32HBo9ExqqtOxm0GYytZsRlsV7qu12CWyV7TK6B2cFcBmj8pb8QQLwUH0Hbjery9cHjo243q8vXB46zmwTJMsAkzq5lGis6LAWVrpo4gs81ykhcTYRoOnNk+nTrMY5RQLbcb1eXrg8dG239Xl64PHXu1QJIhjkCurC5kPAw5DyivmE2wu07TjWODNynJ1viluaC9rRNm1gQnHdeVQjEOD0kUH0zbjery9cHjo243q8vXB46yWxzIU0dsxPFgRbRaZw+KMqUnWEIoAN+IYXBF1wwfmL9tjHKKBbbjery9cHjo22/q8vXB46YxjlFfPdkWxSeaXKEixK2cezmAERFnwizrI6uXGFQElBQ3Yr7+Sg3W3G9Xl64PHRtxvV5euDx1kth+RZ4bYzzxYFFmkhxhozGzm1TyjNqGJSMxyIVU+aLlvJWtrjHKKBfbjery9cHjo243q8vXB46ZxjlFZjZ3k2SeFBAhkdHMixnNtDI2BkzVoVmXyGDsMS6UNzeigvttt6vL1weOjbjery9cHjr59lLY5aZXtDtZseeezWlAXibMyJaFE0VzPdi2qkIJGgiMjhYg/RbNCkaLGgCqihFUcCqouAH+1AvZZS08l6Mm9x6GwG/TLzWNFSRH/qH6KP4paKCM2ZGtD40Rroo/OUNd5UvLU250Wpj7C/KvMf3h+ij+KWmqBfc6LUx9hflRudFqY+wvypiigrrZk+O+Peo+NH4F5G/KmdzotTH2F+Vebbwx9KPc1NUC+50Wpj7C/Kjc6LUx9hflTFFAq+TorjvMXBzF+VQ2DJ8eZj3qPi1/AvIPyp5+A+yocn8TH0a+4UBudFqY+wvyo3Oi1MfYX5UxRQL7nRamPsL8qVsmT48cu9R8aPwLq4vyqypSx+fN0o/xxUHvc6LUx9hflRudFqY+wvypiigX3Oi1MfYX5UtJk+PPoM1H5j/AIF5Y/yqxpWXj4/4P746D1udFqY+wvyo3Oi1MfYX5UxRQL7nRamPsL8qWyjk+MQvvUfBzF+VWNK5T4l/ZQLSmBbQlnMK45EaRd6GHCmENe911/lDRw03udFqY+wvypa15NdrXDOsiKsSupjKMzPnMN5DhgFuwj8J9NWNAvudFqY+wvyrm50Wpj7C/KmaKCpgssawu+11kIkluREjLNdI9yi+4dZAr3kzMzxCRYFXynQo6IGSSNmjdDdeLwysLwSDdoJFdzLvZpEhlEMjPKFlK5zAxkfysN4vu9tS5GsBhgWIlDhvF8augN5JvON3JY33lixJJJ9NBLudFqY+wvyo3Oi1MfYX5UxRQJWaBVncIqrvUfmgLfpl5KK9x/eH6KP4paKAj+8P0UfxS01Ve9mDWhyS4uiTzXkT8UvoUi+oMmzQzhs29ovRgrJI1rhdSQGF6SEG4ggg3XUFvRSu5y86XvZ/FRucvOl72fxUBbeGPpR7mpqqy2ZPW+PypeNA42fkb9Vcvhz+1s7Jnc0Zs3nbReIwQuI+Vo0kDTw6eQ0FpRSu5y86XvZ/FRucvOl72fxUDD8B9lQ5P4mPo19wrw+TluPlS8Gtn8VVrSwwwQmRrR5YVFWM2yZmbAXICR4j5qseD0UF7RSi5PUi/FN/vLOP+MVd3OXnS97P4qBqlLH583Sj/HFXdzl50vez+KkM1HGJ5JJJFRJLyxln0DNxcjaT/wA0FzRSFmsySIHU2gAi8B3tUTf7o5BH+4qXc5edL3s/ioGqVl4+P+D++Ojc5edL3s/ipaTJ655Bil8x/wDVn5Y/1UFnRVPHaIWtG18VqElzMA+3UVlQqGZZGuVgC68BPnCntzl50vez+KgapXKfEv7KNzl50vez+Klso5PUQucUvBrZ/FQWdFU9qtMEcqxPLMHbDoD2pgucYpHjcG5MTgquIi8i4U9ucvOl72fxUDVcpbc5edL3s/io3OXnS97P4qAyd5h6WX/I9NVTJHFFA8skkqqskhLZ2c6BI40ANeSdAuGkk1PYFimjzkbzFbyumS0oyspKsrKzAqQQRcRQWVFK7nLzpe9n8VG5y86XvZ/FQEf3h+ij+KWio7LAFnkALHe4/OZ39MvOJurtB6Xj5LuHNJdfy3y0lkDJskbTySiNDNKJc1E7zKpwqrNnHVSSSOC64AC7009H94foo/ilpqgKKKKBW28MfSj3NVbZ9jWC37aWWQqyTY43IN8kpgII8m/CFhu0nRhQDQKsrbwx9KPc1NUBRRRQeX4D7KoMsZJe0WKJI0jZwgKSSSSwmBzGUEyNGpJYYjovF950ir9+A+yocn8TH0a+4UEsSkKATiIABY6MRHpr3RRQFUeVcmG0Q2iJSt+fjkAYsqsYhZ5QjFdIDYMJI0gG/TV5Slj8+bpR/jioIcgWB4bOI5CCcbsFVmdY0d2dIVZgCyopCgkDzeADQLGiigKVl4+P+D++OmqVl4+P+D++OghsuTmFpltEhUllWKIC/e4VGI33/iaRmJu9Cx8lWFFFAUrlPiX9lNUrlPiX9lBTZY2OSS22O0KUAXM3MWdWjzUrSSDNgXTB1KqMZGAriGmtHRRQFFFFBVS2ITWWWIqHxPLcpZovLEjlTnFBKEMAcQBIuvr1seyU0EJV2xO8rzOcTP5TknDiYAtcMIvuF919w4Azk7zD0sv+R6aoCiiigVj+8P0UfxS0UR/eH6KP4paKCJoS1oe6R03qPQojN/lS85TUu1G18vVD4KE49+ij+KWsFbYGay3CK1OBugIQ8dqZ1tkkoexS+WMQOAvhkOhb+EGg3u1G18vVD4KNqNr5eqHwUyvBprtBWWyytfHv8vGj0Q8jfopnaja+Xqh8FFt4Y+lHuaqdyBb7ViFpwtYogWUWrDiUzYhEyi4NhePRGcRJ5RQXG1G18vVD4KNqNr5eqHwUpsVJ3PswYOrCzRqyyK6OHVQrBlYAg3g8NWtAo9ka47/LwckPgqGwWVszHv8ALxa+iHkH6KffgPsrPZe+4QECYkTWV7oRM5uWSJnLLECSuAOSCLtHsoLnaja+Xqh8FG1G18vVD4KpMlopynM6QyQ4Y2jYmKZBanLIzTNIVwsFuCppJ8qT8N1+loFdqNr5eqHwUrZLK2Obf5eNHoh1cX6KtKrZLsFpxY7sRvzecx3ZqPzc35V/8dNAxtRtfL1Q+Cjaja+Xqh8FZGzw4hkwiGXPpHCJC0FoSQRqjKwM7ACNVbGWQ6X8kaL1v3FArtRtfL1Q+ClpLK2fTf5fMf0Q8sf6Ks6Vl4+P+D++OgNqNr5eqHwUbUbXy9UPgrP2mKZrZa0s+cUvHZ/LlNpjjuUy55YZSrBWwsnmaAWvuvvqz2IxOuTrMsqlHWzorIS5KkKBccQBvuuvvHDfw8NA7tRtfL1Q+Clso2Vsy+/y8HJD4Ks6VynxL+ygNqNr5eqHwUbUbXy9UPgqpyyP+vg4+42edGZFndFxBMN4UFQ2hrr9Po9NR7BYM3Z3jCAIkgRJhDJZWtCiOO+V45NOLFiUn04KC62o2vl6ofBRtRtfL1Q+CmqKCssFlbAd/l42T0Q6x/0UztRtfL1Q+CoobsxJixXY5r8GPFdjkvw4PKvu4MOnk01jbAJg1gYxO+CyWSNY54J2Ky42jtjlzdmZEQI2JxewW4X3m8NvtRtfL1Q+Cjaja+Xqh8FNUUCNliKzyXuz73HpbALtMvNArte4/vD9FH8UtFAR/eH6KP4paapBse2HwYOKjvxYudLyVLv37X96Bqild+/a/vRv37X96AtvDH0o9zU1VbbM7fHxXGjn8jUxv37X96Bqild+/a/vRv37X96Bh+A+yocn8TH0a+4V4fO3HiuD9dQ2DO5mPiuLXn8goLGild+/a/vRv37X96BqlLH583Sj/HFXd+/a/vS1kzuObiuNHP1cVBZ0Urvv7X96N+/a/vQNUrLx8f8AB/fHRv37X96XlzufTivMfn8sdBZUUrv37X96N+/a/vQNUrlPiX9lG/ftf3pfKOdzL8VwfroLKild+/a/vRv37X96Bqild+/a/vRv37X96Ayf5h6WX/I9NVWZPzuA8VxsnP1j0zvv7X96Bqild+/a/vRv37X96Aj+8P0UfxS0VHZcWfkx4eKjuw38svLXaD2nHv0UfxS1lpbbJJY2C2yQzm3TWWF4jEuJzI6pjUKb1jjUuRw4YzWpj+8P0UfxS1LFZEXzY0XTi8lVGm66/R6btFB7QXAC8m4XXm68/mbq9UUUCtt4Y+lHuas3l/K8iS2tEtAF0FkMaEoubaaaSJ/KuJQMAgLkHBeGuN1x0lt4Y+lHuapGsaEsTGhLLhYlVJZToKk+kXAaPyoK3Ypa2ksitIzMwkljJYqxGblkQJjGh8IULi/Fhv8ATVxXmOMKoVQFAFwVQAABwAAcAr1QeX4D7KosrWxorHZ3WbNb/ZUYnB5cbyRI8flcF6s3Bp0VevwH2UrZbOrwRh0Vxm1NzAML8N19x9poKLI1un3RkhlZ2GCaRhigeNFEqLZcAQ4o74i4IcC9ozdfcTWpqOOBVLFVVSxxMVABZuC83cJqSgKqLbaESK0vLM0CBwWlQgMowQ6F0HSeAAC8k6NN1W9JWeIM0ysoYGUXqwBB3uLhBoMfZMrziWIPaWLA2YLBihfOx2iedJBIUG+OkKLeVNwaFjwE372oEsUYKlY4wUvCkKowBvOC6NF/puqegKVl4+P+D++OmqVl4+P+D++OgzNuykwktpgtrYYrNIWLtC4jtS3FViUjQEW9WvvF7qNLK12oyfNjhje8NijVsQuN5IGnRQbBHexzUd7C5jhW9hw3E3adIHVU0cYUBVAUDQFAAAHIAKD1SuU+Jf2U1SuU+Jf2UFRlu2XW2COO0sj3h5IS0YjFm8oM7qwvLMblW433reNCvXvYjazJHK4naeIzbw8jI7mLAl7EqB5LOJGW/ThYcAIAuJLIjMGaNGYcDMqkj06CeCuwWVEvCIiXm8hFC3nlN1BLRRRQVjzKllleSUwopmLTAgGNQ8l7gkG672Vm0yhIIrLIbW+I2tUzbSQs+1pZykayRBd8coVQ6QU0t5RU4tZYkBjYMAQZZQQdIIzj6CK9pk+JSpWKMFb8JCqCuLhwm7Rf+VAxRRRQKx/eH6KP4paKI/vD9FH8UtFBE0rC0PhjL71HpvUXeVLy1Ltl9Se0leWYCWQsbgIUJOkXC+a81hJbfM1ikksUkkkJnzoAtDPPCiiERxMzksodhJIy33gMF0XtcG92xJqD2ko2xJqD2kpkV2grbZaHvj3k8aPxJyNTG2X1J7SUW3hj6Ue5qymW7Sj2u0Rx202ZkszJK0k8qrnHERQpFjGBUQEl0w8Zwk47g1e2H1J7SUbYk1B7SUnsVtOOyI1x8+RQxklnEgV3USrJISzIwAYXngYXXi41bUCj2h7jvJ4OclQ2C0PmY95PFr+JOQU+/AfZWW2U2pFsESGVoZJFCQyiWSzrHKU46RlIBVBe2Fr7yAACSKDQ7Yk1J7SUbYk1B7SVnNjmUXa3zLI2cLGYkB5f+njilVYFaInCokiZXVgAThY+VebtbQK7Yk1B7SUtZLQ+ObeTxo/Emriqzqkynao44LU85cRhxizbPG58iEBVZSCCSQOEDTpIF9BY7ZfUntJRtiTUHtJWXyVAZGsaraJZGVTPLLFaJ5IhCjMI7OSGwynGwTEwJZYHv03VsqBXbEmoPaSl5LQ+fTeT5j/iTljqypWXj4/4P746A2y+pPaSjbEmpPaSsTlnKKma0Zi0sgWSOKVJJ5rjJn487IVxXwQKt8ZZbgc4dFygnVbFJmawws5ctg0s5LFriQGDHS6kAFWOkrcTpJoHNsSag9pKXyjaHzL7yeDnJVlSuU+Jf2UBth9Se0lG2H1J7SVQ7IrSu3YIY7QYJyMeJpXWPNnGqpmS2GV3fRdcSApN4IW/mwSWRklxPnIwyKkmee1q8gRc80czgYlLXcGgHFwG8AL/AGxJqD2ko2xJqD2kpqigrMn2h8B3k8bJ+JNY9M7ZfUntJS+NBZpDK5RMcuNwzR4Vzj3tjUgr7QRdWIsVukvjBnlJEsYsuGWZ0nvtjraMBJ3+MQZsXvfcl5Fw00G/2xJqD2ko2xJqD2kpqigRssjGeTEmDeo9F4N+mXkrte4/vD9FH8UtFAR/eH6KP4paapB7SFtD3hzfFH5qSP8Ail9Kg1LuivNl7qfw0DVFK7orzZe6n8NG6K82Xup/DQFt4Y+lHuamqrLZlBb4/Jl40Hip+Rv00zuivNl7qfw0DVFK7orzZe6n8NG6K82Xup/DQMPwH2VDk/iY+jX3CvD5RW4+TLwaqfw1DYMoLmY/Jl4tf9KfkH6aCxopXdFebL3U/ho3RXmy91P4aBqlLH583Sj/ABxV3dFebL3U/hpWyZQXHL5MvGj/AEp9XF+mgtKKV3RXmy91P4aN0V5svdT+GgapWXj4/wCD++OjdFebL3U/hpaTKC59Dhl8x/8ASn5Y/wBNBZ0UruivNl7qfw0borzZe6n8NA1SuU+Jf2UborzZe6n8NLZRygphcYZeDVT+Ggs6KV3RXmy91P4aN0V5svdT+GgaopXdFebL3U/ho3RXmy91P4aAyf5h6WX/ACPTVVtitoVSCso3yQ8VNwM7EHzeQimN0V5svdT+GgaopXdFebL3U/ho3RXmy91P4aAj+8P0UfxS0VHZZw08hAYb3H5yunpl5wF9doPace/RR++Ws2mVLQglRpsTRZQs0V80ceNrPO8KMRmiFAYu5U3EgC4i/SNIovncHSM0guPp0y0uuxuyiPNCyWfN487m82mHOAXB7rvOAAAPoAHJQWIrtFFArbeGPpR7mpqlbbwx9KPc1NUBRRRQeX4D7KhyfxMfRr7hUz8B9lQ5P4mPo19woGKKKKApSx+fN0o/xxU3Slj8+bpR/jioG6KKKApWXj4/4P746apWXj4/4P746BqiiigKVynxL+ymqVynxL+ygaoqqyjbLQryCOHEqwl0IXEWkANy3Y1v03DDovvvxClLLb7aSMdniUZ3Cbr783jhGIeVzHmOnV8A4CGgorPPly2AkDJZIBcBs/HpCC8NddwPwL+fDcNNRTZatocFbBemZDmMkFhKTpjx4gDcLuBeXhoNNRWbbLNtJI2jm1uUh8SzkG/SMAZMRuI9IAuJvPBXVy5bMRG5puvOEmVV0KwAv0HhGn/jTw0GjorO2fLdsJIbJ5QXMQ2NTdcGwrd+I4govvA0k8FxMliyra2mVZLEEjbCMQkDFD5RZjo0i7ALtGkNpN4oLSP7w/RR/FLRRH94foo/ilooIzaUW0PjdVvijuxELf5UvLU26MWuj7a/OpytcwDkFBDujFro+2vzo3Ri10fbX51NgHIKMA5BQIWy3x3x77HxoPnryN+dM7oxa6Ptr86nwDkFcwDkFBDujFro+2vzo3Ri10fbX51NgHIKMA5BQLvlCK477Hwc9fnUNgyhHmY99j4tfxLyD86ewDkFGAcgoId0YtdH21+dG6MWuj7a/OpsA5BRgHIKCHdGLXR9tfnStkt8eOXfY+NH4l1cX51YYByCu4ByCgg3Ri10fbX50boxa6Ptr86mwDkFGAcgoId0YtdH21+dLSW+PPoc7H5j/jXlT86fwDkFdwDkFBBujFro+2vzo3Ri10fbX51NgHIKMA5BQQ7oxa6Ptr86Wyjb4zC4EsfBz1+dP4ByCu4ByCgg3Ri1sfbX50boxa6Ptr86mwDkFGAcgoId0YtdH21+dG6MWtj7a/OpsA5BRgHIKCHdGLXR9tfnRujFrY+2vzqbAOQUYByCgh3Ri1sfbX50boxa6Ptr86mwDkFGAcgoFLNOrTuVZW3uPzSGu0y8lFOAUUH/2Q=="/>
          <p:cNvSpPr>
            <a:spLocks noChangeAspect="1" noChangeArrowheads="1"/>
          </p:cNvSpPr>
          <p:nvPr/>
        </p:nvSpPr>
        <p:spPr bwMode="auto">
          <a:xfrm>
            <a:off x="79375" y="-727075"/>
            <a:ext cx="1828800" cy="1504950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" name="Rectangle 7"/>
          <p:cNvSpPr>
            <a:spLocks noChangeArrowheads="1"/>
          </p:cNvSpPr>
          <p:nvPr/>
        </p:nvSpPr>
        <p:spPr bwMode="gray">
          <a:xfrm>
            <a:off x="228600" y="1219200"/>
            <a:ext cx="4724400" cy="5562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9" tIns="36571" rIns="36571" bIns="36571"/>
          <a:lstStyle/>
          <a:p>
            <a:pPr marL="458788" lvl="1" indent="-457200" defTabSz="1019175" eaLnBrk="0" hangingPunct="0">
              <a:buClr>
                <a:schemeClr val="folHlink"/>
              </a:buClr>
              <a:buSzPct val="125000"/>
              <a:buFont typeface="Wingdings" pitchFamily="2" charset="2"/>
              <a:buChar char="§"/>
            </a:pPr>
            <a:endParaRPr lang="en-US" sz="2000" b="1" dirty="0" smtClean="0">
              <a:solidFill>
                <a:schemeClr val="bg2"/>
              </a:solidFill>
            </a:endParaRPr>
          </a:p>
          <a:p>
            <a:pPr marL="1373188" lvl="3" indent="-457200" defTabSz="1019175" eaLnBrk="0" hangingPunct="0">
              <a:buClr>
                <a:schemeClr val="folHlink"/>
              </a:buClr>
              <a:buSzPct val="125000"/>
              <a:buFont typeface="Wingdings" pitchFamily="2" charset="2"/>
              <a:buChar char="§"/>
            </a:pPr>
            <a:r>
              <a:rPr lang="en-US" sz="2000" u="sng" dirty="0" smtClean="0">
                <a:hlinkClick r:id="rId4"/>
              </a:rPr>
              <a:t>http://www.ucop.edu/riskmgt/erm/riskmitwb.html</a:t>
            </a:r>
            <a:endParaRPr lang="en-US" sz="2000" u="sng" dirty="0" smtClean="0"/>
          </a:p>
          <a:p>
            <a:pPr marL="1373188" lvl="3" indent="-457200" defTabSz="1019175" eaLnBrk="0" hangingPunct="0">
              <a:buClr>
                <a:schemeClr val="folHlink"/>
              </a:buClr>
              <a:buSzPct val="125000"/>
              <a:buFont typeface="Wingdings" pitchFamily="2" charset="2"/>
              <a:buChar char="§"/>
            </a:pPr>
            <a:endParaRPr lang="en-US" sz="2000" u="sng" dirty="0" smtClean="0"/>
          </a:p>
          <a:p>
            <a:pPr marL="1373188" lvl="3" indent="-457200" defTabSz="1019175" eaLnBrk="0" hangingPunct="0">
              <a:buClr>
                <a:schemeClr val="folHlink"/>
              </a:buClr>
              <a:buSzPct val="125000"/>
              <a:buFont typeface="Wingdings" pitchFamily="2" charset="2"/>
              <a:buChar char="§"/>
            </a:pPr>
            <a:endParaRPr lang="en-US" sz="2000" dirty="0" smtClean="0"/>
          </a:p>
          <a:p>
            <a:pPr marL="1373188" lvl="3" indent="-457200" defTabSz="1019175" eaLnBrk="0" hangingPunct="0">
              <a:buClr>
                <a:schemeClr val="folHlink"/>
              </a:buClr>
              <a:buSzPct val="125000"/>
              <a:buFont typeface="Wingdings" pitchFamily="2" charset="2"/>
              <a:buChar char="§"/>
            </a:pPr>
            <a:r>
              <a:rPr lang="en-US" sz="2000" b="1" dirty="0" smtClean="0">
                <a:solidFill>
                  <a:schemeClr val="accent1"/>
                </a:solidFill>
                <a:sym typeface="Wingdings" pitchFamily="2" charset="2"/>
              </a:rPr>
              <a:t>Activity:  </a:t>
            </a:r>
          </a:p>
          <a:p>
            <a:pPr marL="1830388" lvl="4" indent="-457200" defTabSz="1019175" eaLnBrk="0" hangingPunct="0">
              <a:buClr>
                <a:schemeClr val="folHlink"/>
              </a:buClr>
              <a:buSzPct val="125000"/>
              <a:buFont typeface="Wingdings" pitchFamily="2" charset="2"/>
              <a:buChar char="§"/>
            </a:pPr>
            <a:endParaRPr lang="en-US" sz="2000" b="1" dirty="0" smtClean="0">
              <a:solidFill>
                <a:schemeClr val="accent1"/>
              </a:solidFill>
              <a:sym typeface="Wingdings" pitchFamily="2" charset="2"/>
            </a:endParaRPr>
          </a:p>
          <a:p>
            <a:pPr marL="1830388" lvl="4" indent="-457200" defTabSz="1019175" eaLnBrk="0" hangingPunct="0">
              <a:buClr>
                <a:schemeClr val="folHlink"/>
              </a:buClr>
              <a:buSzPct val="125000"/>
              <a:buFont typeface="Wingdings" pitchFamily="2" charset="2"/>
              <a:buChar char="§"/>
            </a:pPr>
            <a:r>
              <a:rPr lang="en-US" sz="2000" b="1" dirty="0" smtClean="0">
                <a:solidFill>
                  <a:schemeClr val="accent1"/>
                </a:solidFill>
                <a:sym typeface="Wingdings" pitchFamily="2" charset="2"/>
              </a:rPr>
              <a:t>Complete a practice Risk Assessment at the link above, using this case study as the premise, and filling in  details based on reasonable assumptions</a:t>
            </a:r>
          </a:p>
          <a:p>
            <a:pPr marL="1373188" lvl="3" indent="-457200" defTabSz="1019175" eaLnBrk="0" hangingPunct="0">
              <a:buClr>
                <a:schemeClr val="folHlink"/>
              </a:buClr>
              <a:buSzPct val="125000"/>
              <a:buFont typeface="Wingdings" pitchFamily="2" charset="2"/>
              <a:buChar char="§"/>
            </a:pPr>
            <a:endParaRPr lang="en-US" sz="2000" b="1" dirty="0" smtClean="0">
              <a:solidFill>
                <a:schemeClr val="accent1"/>
              </a:solidFill>
              <a:sym typeface="Wingdings" pitchFamily="2" charset="2"/>
            </a:endParaRPr>
          </a:p>
          <a:p>
            <a:pPr marL="1830388" lvl="4" indent="-457200" defTabSz="1019175" eaLnBrk="0" hangingPunct="0">
              <a:buClr>
                <a:schemeClr val="folHlink"/>
              </a:buClr>
              <a:buSzPct val="125000"/>
              <a:buFont typeface="Wingdings" pitchFamily="2" charset="2"/>
              <a:buChar char="§"/>
            </a:pPr>
            <a:r>
              <a:rPr lang="en-US" sz="2000" b="1" dirty="0" smtClean="0">
                <a:solidFill>
                  <a:schemeClr val="accent1"/>
                </a:solidFill>
                <a:sym typeface="Wingdings" pitchFamily="2" charset="2"/>
              </a:rPr>
              <a:t>Report out on the experience and results</a:t>
            </a:r>
          </a:p>
        </p:txBody>
      </p:sp>
      <p:sp>
        <p:nvSpPr>
          <p:cNvPr id="7" name="Oval 6"/>
          <p:cNvSpPr/>
          <p:nvPr/>
        </p:nvSpPr>
        <p:spPr bwMode="auto">
          <a:xfrm>
            <a:off x="8915400" y="152400"/>
            <a:ext cx="990600" cy="990600"/>
          </a:xfrm>
          <a:prstGeom prst="ellips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8979725" y="404750"/>
            <a:ext cx="87382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Risk</a:t>
            </a:r>
          </a:p>
          <a:p>
            <a:pPr algn="ctr"/>
            <a:r>
              <a:rPr lang="en-US" dirty="0" smtClean="0"/>
              <a:t>Services</a:t>
            </a:r>
            <a:endParaRPr lang="en-US" dirty="0"/>
          </a:p>
        </p:txBody>
      </p:sp>
      <p:pic>
        <p:nvPicPr>
          <p:cNvPr id="10" name="Picture 9"/>
          <p:cNvPicPr/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105400" y="1676400"/>
            <a:ext cx="4450080" cy="5181600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</p:pic>
    </p:spTree>
    <p:custDataLst>
      <p:tags r:id="rId1"/>
    </p:custDataLst>
  </p:cSld>
  <p:clrMapOvr>
    <a:masterClrMapping/>
  </p:clrMapOvr>
  <p:transition xmlns:p14="http://schemas.microsoft.com/office/powerpoint/2010/main">
    <p:cut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Rectangle 2"/>
          <p:cNvSpPr>
            <a:spLocks noGrp="1" noChangeArrowheads="1"/>
          </p:cNvSpPr>
          <p:nvPr>
            <p:ph type="title"/>
          </p:nvPr>
        </p:nvSpPr>
        <p:spPr>
          <a:xfrm>
            <a:off x="762000" y="838200"/>
            <a:ext cx="8153400" cy="304800"/>
          </a:xfrm>
        </p:spPr>
        <p:txBody>
          <a:bodyPr/>
          <a:lstStyle/>
          <a:p>
            <a:pPr lvl="1"/>
            <a:r>
              <a:rPr lang="en-US" sz="2300" dirty="0" smtClean="0"/>
              <a:t>Case Study A:  Part 4 – How might this relate to your area?</a:t>
            </a:r>
          </a:p>
        </p:txBody>
      </p:sp>
      <p:sp>
        <p:nvSpPr>
          <p:cNvPr id="93188" name="AutoShape 4" descr="data:image/jpg;base64,/9j/4AAQSkZJRgABAQAAAQABAAD/2wCEAAkGBhQSDhQQEA8QEBQUEBkQFA4QFhEQFBAQFBwWFRUQFRQYHycqFxkjGRUTHy8iIycsLCwsFR4xQTIqNSYrLSkBCQoKBQUFDQUFDSkYEhgpKSkpKSkpKSkpKSkpKSkpKSkpKSkpKSkpKSkpKSkpKSkpKSkpKSkpKSkpKSkpKSkpKf/AABEIAMwA9wMBIgACEQEDEQH/xAAbAAACAwEBAQAAAAAAAAAAAAAABAMFBgECB//EAEkQAAIBAQMEDQkIAQMDBQEAAAECAwAEERIFEyFTBhQVIzEzUVJzkZKT0iIyQVRxsbLR0wc0QmFiY3Kis0OBoSR0dRY1NsHCCP/EABQBAQAAAAAAAAAAAAAAAAAAAAD/xAAUEQEAAAAAAAAAAAAAAAAAAAAA/9oADAMBAAIRAxEAPwD7PLaXzhRERrkViWcp5xYXABTzf+a5nJtXF3j/AE67H94foo/ilpqgUzk2ri7x/p0ZybVxd4/06booFM5Nq4u8f6dGcm1cXeP9Om6KBTOTauLvH+nRnJtXF3j/AE6booFM5Nq4u8f6dGcm1cXeP9Om6KBTOTauLvH+nRnJtXF3j/TrL5O+0FpctS5KNjwtCpkefPBlzVyFXC4LyTnI9HovOnRV3YNl1kmWV4bVFKsK4pShLZpdOluTzT1Ggdzk2ri7x/p0ZybVxd4/06rZNnNhWBLQ1tgELsUSYtcjuvnKG4CR/wDR5KnynssslnEZtFqihEq4o84cOcGjzb+HhGj86BvOTauLvH+nRnJtXF3j/TqOfL0CWiOzPMizSrijhN+J106VHpHknqqHZRsijsNjltc2IpGAcK6WdmIVUH5liBQNZybVxd4/06M5Nq4u8f6dYXYr9sAtNshslpsEtia0xCazu7iRZkYMVbzVuDBWuOm8i6qu1f8A9ARLLI0eT55bLHMIXtiuo8psWErGRpvCORew0D0UH07OTauLvH+nRnJtXF3j/TrH7LPtjsNiiVlfbUsiJIlniNzZuRQ6u7Eb2CjAgHSbxo9Ij2WfbNZLEqLcbROwUtZYmF8IYBt8e64EXjRw/kKDaZybVxd4/wBOjOTauLvH+nTQNdoFM5Nq4u8f6dGcm1cXeP8ATpuigUzk2ri7x/p0ZybVxd4/06booFM5Nq4u8f6dGcm1cXeP9Om6KBTOTauLvH+nRnJtXF3j/TpuigWs1oYuyOiqQqterFwQxYelRd5v/NFcj+8P0UfxS0UBH94foo/ilpqlY/vD9FH8UtNUBRRRQFFFFAUUUUBRRRQfJtjv/wA5yh/2Q+Gx1P8AZMdGWf8AyU3/AOqNhViefZPlDKcattUxbWSZlZBLKogVgmIDEAYXvI/Llq+H2evFPa3sVuazJbWMk0LRJNhka/FJC5YYCcR4Qw6hQfNNkf8A8Lyb/wB2nvtNfTPtY2ObcyTMqm6WAbbhN9xDxXkge1cS+0jkrxsk+zGO05Ns+TYp2s8NnZXBwCV3KBlUkkgaS7k6NJPopj/0VO00882UM7JLYmsKnMIiQxu2JmCB/KY/meTkuoEfs0tj5QUZXnW5mgWxwryLHcbTLcDozk4YfxiWtXsgyLBarM0FrQPCbnZWZox5BxAllIIAIv4fRSOwfYtudYlsYmz6ozFHKCMgOS5U3E3+UW06OGvOz/ItoteTZrLZJEiklATHIWVc2SM4pKgnSt44PTQfKNg9lGU9kBtkCFLFk6IQ2cHEd7jVo7OgLabz5chvvI4Dw18/yd/7Ba//ACFl+C019m+znYRlbJ7xwSTZP2mHd5o4gxlkLKbjiMYvN+AcPAt1Ze0fYdlBBNYoJrIbJLaUnz0hkEqiISKgKheG6Q3gX3kDSNNAl9p2S4l2O5JtCwxrK8MKvMqqHdRZxcGYC9rsK3X8F1TfbrkyJLPk2ZIY0kkRs5KiqrS3JBdjYDyrrzw8tbn7QvsymteS7HYbJJENq4VxTlkxIkebB8lW0nQaj+077NrTlGz2KKzvZ1azKwcys6gkrGow4UN+lDw3eig+lrwV2uCu0BRRRQFFFFAUUUUBRRRQKx/eH6KP4paKI/vD9FH8UtFBE8xW0PdG771HpUxi7ypecwqXbjery9cHjoRv+ofoo/ilpLZRY89Y5IlMt7YQDCY8YuZTiukIV1F17KfOUMum+6gd22/q8vXB46NuN6vL1weOvncOxm1XPnLLGpkzUxWJohEjR2aeJogpbyTnGW4C8DH51wJGm2FZJls2ejm0qrJFBKSpaSzIt8eO4+egbNknhzd/poL7bjery9cHjo243q8vXB46ZxjlFUmzHJW2rC9mUm+Ro1xIQGjGcQmUEkaVALcuigstuN6vL1weOjbjery9cHjr53FsZtmcd7TDtgSSvJLEjxYZJpbJCiugZh5CTCdBfcRjVrvSHtj2xy1w2yB5TnUJU2h2dTdaYbKIBaUBN5Ehd1bRffGhu0mg223G9Xl64PHRtxvV5euDx0xjHKK7jHKKBbbbery9cHjo22/q8vXB46zuXtjQmyhFKIUZTZ5xLKSuic7W2uTeb9Gae64XDTzjfl//AEraTHZcVlJzUMEMqE2aQsYbLaonNzOAymWWIAk+jFoABoPpW3G9Xl64PHRtxvV5euDx1NEwwjgGgaL77vyvr3jHKKBbbjery9cHjo22/q8vXB46yez3Y5NaZFay6C9knsssiuEZL83PAwvIv32HBo9ExqqtOxm0GYytZsRlsV7qu12CWyV7TK6B2cFcBmj8pb8QQLwUH0Hbjery9cHjo243q8vXB46zmwTJMsAkzq5lGis6LAWVrpo4gs81ykhcTYRoOnNk+nTrMY5RQLbcb1eXrg8dG239Xl64PHXu1QJIhjkCurC5kPAw5DyivmE2wu07TjWODNynJ1viluaC9rRNm1gQnHdeVQjEOD0kUH0zbjery9cHjo243q8vXB46yWxzIU0dsxPFgRbRaZw+KMqUnWEIoAN+IYXBF1wwfmL9tjHKKBbbjery9cHjo22/q8vXB46YxjlFfPdkWxSeaXKEixK2cezmAERFnwizrI6uXGFQElBQ3Yr7+Sg3W3G9Xl64PHRtxvV5euDx1kth+RZ4bYzzxYFFmkhxhozGzm1TyjNqGJSMxyIVU+aLlvJWtrjHKKBfbjery9cHjo243q8vXB46ZxjlFZjZ3k2SeFBAhkdHMixnNtDI2BkzVoVmXyGDsMS6UNzeigvttt6vL1weOjbjery9cHjr59lLY5aZXtDtZseeezWlAXibMyJaFE0VzPdi2qkIJGgiMjhYg/RbNCkaLGgCqihFUcCqouAH+1AvZZS08l6Mm9x6GwG/TLzWNFSRH/qH6KP4paKCM2ZGtD40Rroo/OUNd5UvLU250Wpj7C/KvMf3h+ij+KWmqBfc6LUx9hflRudFqY+wvypiigrrZk+O+Peo+NH4F5G/KmdzotTH2F+Vebbwx9KPc1NUC+50Wpj7C/Kjc6LUx9hflTFFAq+TorjvMXBzF+VQ2DJ8eZj3qPi1/AvIPyp5+A+yocn8TH0a+4UBudFqY+wvyo3Oi1MfYX5UxRQL7nRamPsL8qVsmT48cu9R8aPwLq4vyqypSx+fN0o/xxUHvc6LUx9hflRudFqY+wvypiigX3Oi1MfYX5UtJk+PPoM1H5j/AIF5Y/yqxpWXj4/4P746D1udFqY+wvyo3Oi1MfYX5UxRQL7nRamPsL8qWyjk+MQvvUfBzF+VWNK5T4l/ZQLSmBbQlnMK45EaRd6GHCmENe911/lDRw03udFqY+wvypa15NdrXDOsiKsSupjKMzPnMN5DhgFuwj8J9NWNAvudFqY+wvyrm50Wpj7C/KmaKCpgssawu+11kIkluREjLNdI9yi+4dZAr3kzMzxCRYFXynQo6IGSSNmjdDdeLwysLwSDdoJFdzLvZpEhlEMjPKFlK5zAxkfysN4vu9tS5GsBhgWIlDhvF8augN5JvON3JY33lixJJJ9NBLudFqY+wvyo3Oi1MfYX5UxRQJWaBVncIqrvUfmgLfpl5KK9x/eH6KP4paKAj+8P0UfxS01Ve9mDWhyS4uiTzXkT8UvoUi+oMmzQzhs29ovRgrJI1rhdSQGF6SEG4ggg3XUFvRSu5y86XvZ/FRucvOl72fxUBbeGPpR7mpqqy2ZPW+PypeNA42fkb9Vcvhz+1s7Jnc0Zs3nbReIwQuI+Vo0kDTw6eQ0FpRSu5y86XvZ/FRucvOl72fxUDD8B9lQ5P4mPo19wrw+TluPlS8Gtn8VVrSwwwQmRrR5YVFWM2yZmbAXICR4j5qseD0UF7RSi5PUi/FN/vLOP+MVd3OXnS97P4qBqlLH583Sj/HFXdzl50vez+KkM1HGJ5JJJFRJLyxln0DNxcjaT/wA0FzRSFmsySIHU2gAi8B3tUTf7o5BH+4qXc5edL3s/ioGqVl4+P+D++Ojc5edL3s/ipaTJ655Bil8x/wDVn5Y/1UFnRVPHaIWtG18VqElzMA+3UVlQqGZZGuVgC68BPnCntzl50vez+KgapXKfEv7KNzl50vez+Klso5PUQucUvBrZ/FQWdFU9qtMEcqxPLMHbDoD2pgucYpHjcG5MTgquIi8i4U9ucvOl72fxUDVcpbc5edL3s/io3OXnS97P4qAyd5h6WX/I9NVTJHFFA8skkqqskhLZ2c6BI40ANeSdAuGkk1PYFimjzkbzFbyumS0oyspKsrKzAqQQRcRQWVFK7nLzpe9n8VG5y86XvZ/FQEf3h+ij+KWio7LAFnkALHe4/OZ39MvOJurtB6Xj5LuHNJdfy3y0lkDJskbTySiNDNKJc1E7zKpwqrNnHVSSSOC64AC7009H94foo/ilpqgKKKKBW28MfSj3NVbZ9jWC37aWWQqyTY43IN8kpgII8m/CFhu0nRhQDQKsrbwx9KPc1NUBRRRQeX4D7KoMsZJe0WKJI0jZwgKSSSSwmBzGUEyNGpJYYjovF950ir9+A+yocn8TH0a+4UEsSkKATiIABY6MRHpr3RRQFUeVcmG0Q2iJSt+fjkAYsqsYhZ5QjFdIDYMJI0gG/TV5Slj8+bpR/jioIcgWB4bOI5CCcbsFVmdY0d2dIVZgCyopCgkDzeADQLGiigKVl4+P+D++OmqVl4+P+D++OghsuTmFpltEhUllWKIC/e4VGI33/iaRmJu9Cx8lWFFFAUrlPiX9lNUrlPiX9lBTZY2OSS22O0KUAXM3MWdWjzUrSSDNgXTB1KqMZGAriGmtHRRQFFFFBVS2ITWWWIqHxPLcpZovLEjlTnFBKEMAcQBIuvr1seyU0EJV2xO8rzOcTP5TknDiYAtcMIvuF919w4Azk7zD0sv+R6aoCiiigVj+8P0UfxS0UR/eH6KP4paKCJoS1oe6R03qPQojN/lS85TUu1G18vVD4KE49+ij+KWsFbYGay3CK1OBugIQ8dqZ1tkkoexS+WMQOAvhkOhb+EGg3u1G18vVD4KNqNr5eqHwUyvBprtBWWyytfHv8vGj0Q8jfopnaja+Xqh8FFt4Y+lHuaqdyBb7ViFpwtYogWUWrDiUzYhEyi4NhePRGcRJ5RQXG1G18vVD4KNqNr5eqHwUpsVJ3PswYOrCzRqyyK6OHVQrBlYAg3g8NWtAo9ka47/LwckPgqGwWVszHv8ALxa+iHkH6KffgPsrPZe+4QECYkTWV7oRM5uWSJnLLECSuAOSCLtHsoLnaja+Xqh8FG1G18vVD4KpMlopynM6QyQ4Y2jYmKZBanLIzTNIVwsFuCppJ8qT8N1+loFdqNr5eqHwUrZLK2Obf5eNHoh1cX6KtKrZLsFpxY7sRvzecx3ZqPzc35V/8dNAxtRtfL1Q+Cjaja+Xqh8FZGzw4hkwiGXPpHCJC0FoSQRqjKwM7ACNVbGWQ6X8kaL1v3FArtRtfL1Q+ClpLK2fTf5fMf0Q8sf6Ks6Vl4+P+D++OgNqNr5eqHwUbUbXy9UPgrP2mKZrZa0s+cUvHZ/LlNpjjuUy55YZSrBWwsnmaAWvuvvqz2IxOuTrMsqlHWzorIS5KkKBccQBvuuvvHDfw8NA7tRtfL1Q+Clso2Vsy+/y8HJD4Ks6VynxL+ygNqNr5eqHwUbUbXy9UPgqpyyP+vg4+42edGZFndFxBMN4UFQ2hrr9Po9NR7BYM3Z3jCAIkgRJhDJZWtCiOO+V45NOLFiUn04KC62o2vl6ofBRtRtfL1Q+CmqKCssFlbAd/l42T0Q6x/0UztRtfL1Q+CoobsxJixXY5r8GPFdjkvw4PKvu4MOnk01jbAJg1gYxO+CyWSNY54J2Ky42jtjlzdmZEQI2JxewW4X3m8NvtRtfL1Q+Cjaja+Xqh8FNUUCNliKzyXuz73HpbALtMvNArte4/vD9FH8UtFAR/eH6KP4paapBse2HwYOKjvxYudLyVLv37X96Bqild+/a/vRv37X96AtvDH0o9zU1VbbM7fHxXGjn8jUxv37X96Bqild+/a/vRv37X96Bh+A+yocn8TH0a+4V4fO3HiuD9dQ2DO5mPiuLXn8goLGild+/a/vRv37X96BqlLH583Sj/HFXd+/a/vS1kzuObiuNHP1cVBZ0Urvv7X96N+/a/vQNUrLx8f8AB/fHRv37X96XlzufTivMfn8sdBZUUrv37X96N+/a/vQNUrlPiX9lG/ftf3pfKOdzL8VwfroLKild+/a/vRv37X96Bqild+/a/vRv37X96Ayf5h6WX/I9NVWZPzuA8VxsnP1j0zvv7X96Bqild+/a/vRv37X96Aj+8P0UfxS0VHZcWfkx4eKjuw38svLXaD2nHv0UfxS1lpbbJJY2C2yQzm3TWWF4jEuJzI6pjUKb1jjUuRw4YzWpj+8P0UfxS1LFZEXzY0XTi8lVGm66/R6btFB7QXAC8m4XXm68/mbq9UUUCtt4Y+lHuas3l/K8iS2tEtAF0FkMaEoubaaaSJ/KuJQMAgLkHBeGuN1x0lt4Y+lHuapGsaEsTGhLLhYlVJZToKk+kXAaPyoK3Ypa2ksitIzMwkljJYqxGblkQJjGh8IULi/Fhv8ATVxXmOMKoVQFAFwVQAABwAAcAr1QeX4D7KosrWxorHZ3WbNb/ZUYnB5cbyRI8flcF6s3Bp0VevwH2UrZbOrwRh0Vxm1NzAML8N19x9poKLI1un3RkhlZ2GCaRhigeNFEqLZcAQ4o74i4IcC9ozdfcTWpqOOBVLFVVSxxMVABZuC83cJqSgKqLbaESK0vLM0CBwWlQgMowQ6F0HSeAAC8k6NN1W9JWeIM0ysoYGUXqwBB3uLhBoMfZMrziWIPaWLA2YLBihfOx2iedJBIUG+OkKLeVNwaFjwE372oEsUYKlY4wUvCkKowBvOC6NF/puqegKVl4+P+D++OmqVl4+P+D++OgzNuykwktpgtrYYrNIWLtC4jtS3FViUjQEW9WvvF7qNLK12oyfNjhje8NijVsQuN5IGnRQbBHexzUd7C5jhW9hw3E3adIHVU0cYUBVAUDQFAAAHIAKD1SuU+Jf2U1SuU+Jf2UFRlu2XW2COO0sj3h5IS0YjFm8oM7qwvLMblW433reNCvXvYjazJHK4naeIzbw8jI7mLAl7EqB5LOJGW/ThYcAIAuJLIjMGaNGYcDMqkj06CeCuwWVEvCIiXm8hFC3nlN1BLRRRQVjzKllleSUwopmLTAgGNQ8l7gkG672Vm0yhIIrLIbW+I2tUzbSQs+1pZykayRBd8coVQ6QU0t5RU4tZYkBjYMAQZZQQdIIzj6CK9pk+JSpWKMFb8JCqCuLhwm7Rf+VAxRRRQKx/eH6KP4paKI/vD9FH8UtFBE0rC0PhjL71HpvUXeVLy1Ltl9Se0leWYCWQsbgIUJOkXC+a81hJbfM1ikksUkkkJnzoAtDPPCiiERxMzksodhJIy33gMF0XtcG92xJqD2ko2xJqD2kpkV2grbZaHvj3k8aPxJyNTG2X1J7SUW3hj6Ue5qymW7Sj2u0Rx202ZkszJK0k8qrnHERQpFjGBUQEl0w8Zwk47g1e2H1J7SUbYk1B7SUnsVtOOyI1x8+RQxklnEgV3USrJISzIwAYXngYXXi41bUCj2h7jvJ4OclQ2C0PmY95PFr+JOQU+/AfZWW2U2pFsESGVoZJFCQyiWSzrHKU46RlIBVBe2Fr7yAACSKDQ7Yk1J7SUbYk1B7SVnNjmUXa3zLI2cLGYkB5f+njilVYFaInCokiZXVgAThY+VebtbQK7Yk1B7SUtZLQ+ObeTxo/Emriqzqkynao44LU85cRhxizbPG58iEBVZSCCSQOEDTpIF9BY7ZfUntJRtiTUHtJWXyVAZGsaraJZGVTPLLFaJ5IhCjMI7OSGwynGwTEwJZYHv03VsqBXbEmoPaSl5LQ+fTeT5j/iTljqypWXj4/4P746A2y+pPaSjbEmpPaSsTlnKKma0Zi0sgWSOKVJJ5rjJn487IVxXwQKt8ZZbgc4dFygnVbFJmawws5ctg0s5LFriQGDHS6kAFWOkrcTpJoHNsSag9pKXyjaHzL7yeDnJVlSuU+Jf2UBth9Se0lG2H1J7SVQ7IrSu3YIY7QYJyMeJpXWPNnGqpmS2GV3fRdcSApN4IW/mwSWRklxPnIwyKkmee1q8gRc80czgYlLXcGgHFwG8AL/AGxJqD2ko2xJqD2kpqigrMn2h8B3k8bJ+JNY9M7ZfUntJS+NBZpDK5RMcuNwzR4Vzj3tjUgr7QRdWIsVukvjBnlJEsYsuGWZ0nvtjraMBJ3+MQZsXvfcl5Fw00G/2xJqD2ko2xJqD2kpqigRssjGeTEmDeo9F4N+mXkrte4/vD9FH8UtFAR/eH6KP4paapB7SFtD3hzfFH5qSP8Ail9Kg1LuivNl7qfw0DVFK7orzZe6n8NG6K82Xup/DQFt4Y+lHuamqrLZlBb4/Jl40Hip+Rv00zuivNl7qfw0DVFK7orzZe6n8NG6K82Xup/DQMPwH2VDk/iY+jX3CvD5RW4+TLwaqfw1DYMoLmY/Jl4tf9KfkH6aCxopXdFebL3U/ho3RXmy91P4aBqlLH583Sj/ABxV3dFebL3U/hpWyZQXHL5MvGj/AEp9XF+mgtKKV3RXmy91P4aN0V5svdT+GgapWXj4/wCD++OjdFebL3U/hpaTKC59Dhl8x/8ASn5Y/wBNBZ0UruivNl7qfw0borzZe6n8NA1SuU+Jf2UborzZe6n8NLZRygphcYZeDVT+Ggs6KV3RXmy91P4aN0V5svdT+GgaopXdFebL3U/ho3RXmy91P4aAyf5h6WX/ACPTVVtitoVSCso3yQ8VNwM7EHzeQimN0V5svdT+GgaopXdFebL3U/ho3RXmy91P4aAj+8P0UfxS0VHZZw08hAYb3H5yunpl5wF9doPace/RR++Ws2mVLQglRpsTRZQs0V80ceNrPO8KMRmiFAYu5U3EgC4i/SNIovncHSM0guPp0y0uuxuyiPNCyWfN487m82mHOAXB7rvOAAAPoAHJQWIrtFFArbeGPpR7mpqlbbwx9KPc1NUBRRRQeX4D7KhyfxMfRr7hUz8B9lQ5P4mPo19woGKKKKApSx+fN0o/xxU3Slj8+bpR/jioG6KKKApWXj4/4P746apWXj4/4P746BqiiigKVynxL+ymqVynxL+ygaoqqyjbLQryCOHEqwl0IXEWkANy3Y1v03DDovvvxClLLb7aSMdniUZ3Cbr783jhGIeVzHmOnV8A4CGgorPPly2AkDJZIBcBs/HpCC8NddwPwL+fDcNNRTZatocFbBemZDmMkFhKTpjx4gDcLuBeXhoNNRWbbLNtJI2jm1uUh8SzkG/SMAZMRuI9IAuJvPBXVy5bMRG5puvOEmVV0KwAv0HhGn/jTw0GjorO2fLdsJIbJ5QXMQ2NTdcGwrd+I4govvA0k8FxMliyra2mVZLEEjbCMQkDFD5RZjo0i7ALtGkNpN4oLSP7w/RR/FLRRH94foo/ilooIzaUW0PjdVvijuxELf5UvLU26MWuj7a/OpytcwDkFBDujFro+2vzo3Ri10fbX51NgHIKMA5BQIWy3x3x77HxoPnryN+dM7oxa6Ptr86nwDkFcwDkFBDujFro+2vzo3Ri10fbX51NgHIKMA5BQLvlCK477Hwc9fnUNgyhHmY99j4tfxLyD86ewDkFGAcgoId0YtdH21+dG6MWuj7a/OpsA5BRgHIKCHdGLXR9tfnStkt8eOXfY+NH4l1cX51YYByCu4ByCgg3Ri10fbX50boxa6Ptr86mwDkFGAcgoId0YtdH21+dLSW+PPoc7H5j/jXlT86fwDkFdwDkFBBujFro+2vzo3Ri10fbX51NgHIKMA5BQQ7oxa6Ptr86Wyjb4zC4EsfBz1+dP4ByCu4ByCgg3Ri1sfbX50boxa6Ptr86mwDkFGAcgoId0YtdH21+dG6MWtj7a/OpsA5BRgHIKCHdGLXR9tfnRujFrY+2vzqbAOQUYByCgh3Ri1sfbX50boxa6Ptr86mwDkFGAcgoFLNOrTuVZW3uPzSGu0y8lFOAUUH/2Q=="/>
          <p:cNvSpPr>
            <a:spLocks noChangeAspect="1" noChangeArrowheads="1"/>
          </p:cNvSpPr>
          <p:nvPr/>
        </p:nvSpPr>
        <p:spPr bwMode="auto">
          <a:xfrm>
            <a:off x="79375" y="-727075"/>
            <a:ext cx="1828800" cy="1504950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" name="Rectangle 7"/>
          <p:cNvSpPr>
            <a:spLocks noChangeArrowheads="1"/>
          </p:cNvSpPr>
          <p:nvPr/>
        </p:nvSpPr>
        <p:spPr bwMode="gray">
          <a:xfrm>
            <a:off x="1066800" y="1295400"/>
            <a:ext cx="8229600" cy="533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9" tIns="36571" rIns="36571" bIns="36571"/>
          <a:lstStyle/>
          <a:p>
            <a:pPr marL="458788" lvl="1" indent="-457200" algn="just" defTabSz="1019175" eaLnBrk="0" hangingPunct="0">
              <a:buClr>
                <a:schemeClr val="folHlink"/>
              </a:buClr>
              <a:buSzPct val="125000"/>
              <a:buFont typeface="Wingdings" pitchFamily="2" charset="2"/>
              <a:buChar char="§"/>
            </a:pPr>
            <a:endParaRPr lang="en-US" sz="2400" b="1" dirty="0" smtClean="0">
              <a:solidFill>
                <a:schemeClr val="bg2"/>
              </a:solidFill>
            </a:endParaRPr>
          </a:p>
          <a:p>
            <a:pPr marL="458788" lvl="3" indent="-457200" algn="just" defTabSz="1019175" eaLnBrk="0" hangingPunct="0">
              <a:buClr>
                <a:schemeClr val="folHlink"/>
              </a:buClr>
              <a:buSzPct val="125000"/>
              <a:buFont typeface="Wingdings" pitchFamily="2" charset="2"/>
              <a:buChar char="§"/>
            </a:pPr>
            <a:r>
              <a:rPr lang="en-US" sz="2300" b="1" dirty="0" smtClean="0">
                <a:solidFill>
                  <a:schemeClr val="accent1"/>
                </a:solidFill>
                <a:sym typeface="Wingdings" pitchFamily="2" charset="2"/>
              </a:rPr>
              <a:t>Operationally?</a:t>
            </a:r>
          </a:p>
          <a:p>
            <a:pPr marL="458788" lvl="3" indent="-457200" algn="just" defTabSz="1019175" eaLnBrk="0" hangingPunct="0">
              <a:buClr>
                <a:schemeClr val="folHlink"/>
              </a:buClr>
              <a:buSzPct val="125000"/>
              <a:buFont typeface="Wingdings" pitchFamily="2" charset="2"/>
              <a:buChar char="§"/>
            </a:pPr>
            <a:endParaRPr lang="en-US" sz="2300" b="1" dirty="0" smtClean="0">
              <a:solidFill>
                <a:schemeClr val="accent1"/>
              </a:solidFill>
              <a:sym typeface="Wingdings" pitchFamily="2" charset="2"/>
            </a:endParaRPr>
          </a:p>
          <a:p>
            <a:pPr marL="458788" lvl="3" indent="-457200" algn="just" defTabSz="1019175" eaLnBrk="0" hangingPunct="0">
              <a:buClr>
                <a:schemeClr val="folHlink"/>
              </a:buClr>
              <a:buSzPct val="125000"/>
              <a:buFont typeface="Wingdings" pitchFamily="2" charset="2"/>
              <a:buChar char="§"/>
            </a:pPr>
            <a:r>
              <a:rPr lang="en-US" sz="2300" b="1" dirty="0" smtClean="0">
                <a:solidFill>
                  <a:schemeClr val="accent1"/>
                </a:solidFill>
                <a:sym typeface="Wingdings" pitchFamily="2" charset="2"/>
              </a:rPr>
              <a:t>Financially?</a:t>
            </a:r>
          </a:p>
          <a:p>
            <a:pPr marL="458788" lvl="3" indent="-457200" algn="just" defTabSz="1019175" eaLnBrk="0" hangingPunct="0">
              <a:buClr>
                <a:schemeClr val="folHlink"/>
              </a:buClr>
              <a:buSzPct val="125000"/>
              <a:buFont typeface="Wingdings" pitchFamily="2" charset="2"/>
              <a:buChar char="§"/>
            </a:pPr>
            <a:endParaRPr lang="en-US" sz="2300" b="1" dirty="0" smtClean="0">
              <a:solidFill>
                <a:schemeClr val="accent1"/>
              </a:solidFill>
              <a:sym typeface="Wingdings" pitchFamily="2" charset="2"/>
            </a:endParaRPr>
          </a:p>
          <a:p>
            <a:pPr marL="458788" lvl="3" indent="-457200" algn="just" defTabSz="1019175" eaLnBrk="0" hangingPunct="0">
              <a:buClr>
                <a:schemeClr val="folHlink"/>
              </a:buClr>
              <a:buSzPct val="125000"/>
              <a:buFont typeface="Wingdings" pitchFamily="2" charset="2"/>
              <a:buChar char="§"/>
            </a:pPr>
            <a:r>
              <a:rPr lang="en-US" sz="2300" b="1" dirty="0" smtClean="0">
                <a:solidFill>
                  <a:schemeClr val="accent1"/>
                </a:solidFill>
                <a:sym typeface="Wingdings" pitchFamily="2" charset="2"/>
              </a:rPr>
              <a:t>Describe an example – either one that has actually happened, or one that you anticipate happening</a:t>
            </a:r>
          </a:p>
          <a:p>
            <a:pPr marL="458788" lvl="3" indent="-457200" algn="just" defTabSz="1019175" eaLnBrk="0" hangingPunct="0">
              <a:buClr>
                <a:schemeClr val="folHlink"/>
              </a:buClr>
              <a:buSzPct val="125000"/>
              <a:buFont typeface="Wingdings" pitchFamily="2" charset="2"/>
              <a:buChar char="§"/>
            </a:pPr>
            <a:endParaRPr lang="en-US" sz="2300" b="1" dirty="0" smtClean="0">
              <a:solidFill>
                <a:schemeClr val="accent1"/>
              </a:solidFill>
              <a:sym typeface="Wingdings" pitchFamily="2" charset="2"/>
            </a:endParaRPr>
          </a:p>
          <a:p>
            <a:pPr marL="458788" lvl="3" indent="-457200" algn="just" defTabSz="1019175" eaLnBrk="0" hangingPunct="0">
              <a:buClr>
                <a:schemeClr val="folHlink"/>
              </a:buClr>
              <a:buSzPct val="125000"/>
              <a:buFont typeface="Wingdings" pitchFamily="2" charset="2"/>
              <a:buChar char="§"/>
            </a:pPr>
            <a:r>
              <a:rPr lang="en-US" sz="2300" b="1" dirty="0" smtClean="0">
                <a:solidFill>
                  <a:schemeClr val="accent1"/>
                </a:solidFill>
                <a:sym typeface="Wingdings" pitchFamily="2" charset="2"/>
              </a:rPr>
              <a:t>What could/would you do?</a:t>
            </a:r>
          </a:p>
          <a:p>
            <a:pPr marL="458788" lvl="3" indent="-457200" algn="just" defTabSz="1019175" eaLnBrk="0" hangingPunct="0">
              <a:buClr>
                <a:schemeClr val="folHlink"/>
              </a:buClr>
              <a:buSzPct val="125000"/>
              <a:buFont typeface="Wingdings" pitchFamily="2" charset="2"/>
              <a:buChar char="§"/>
            </a:pPr>
            <a:endParaRPr lang="en-US" sz="2300" b="1" dirty="0" smtClean="0">
              <a:solidFill>
                <a:schemeClr val="accent1"/>
              </a:solidFill>
              <a:sym typeface="Wingdings" pitchFamily="2" charset="2"/>
            </a:endParaRPr>
          </a:p>
          <a:p>
            <a:pPr marL="458788" lvl="3" indent="-457200" algn="just" defTabSz="1019175" eaLnBrk="0" hangingPunct="0">
              <a:buClr>
                <a:schemeClr val="folHlink"/>
              </a:buClr>
              <a:buSzPct val="125000"/>
              <a:buFont typeface="Wingdings" pitchFamily="2" charset="2"/>
              <a:buChar char="§"/>
            </a:pPr>
            <a:r>
              <a:rPr lang="en-US" sz="2300" b="1" dirty="0" smtClean="0">
                <a:solidFill>
                  <a:schemeClr val="accent1"/>
                </a:solidFill>
                <a:sym typeface="Wingdings" pitchFamily="2" charset="2"/>
              </a:rPr>
              <a:t>What creative ideas or solutions might you be able to offer to the CFO Division?</a:t>
            </a:r>
          </a:p>
        </p:txBody>
      </p:sp>
      <p:sp>
        <p:nvSpPr>
          <p:cNvPr id="7" name="Oval 6"/>
          <p:cNvSpPr/>
          <p:nvPr/>
        </p:nvSpPr>
        <p:spPr bwMode="auto">
          <a:xfrm>
            <a:off x="8915400" y="152400"/>
            <a:ext cx="990600" cy="990600"/>
          </a:xfrm>
          <a:prstGeom prst="ellips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8979725" y="404750"/>
            <a:ext cx="87382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Risk</a:t>
            </a:r>
          </a:p>
          <a:p>
            <a:pPr algn="ctr"/>
            <a:r>
              <a:rPr lang="en-US" dirty="0" smtClean="0"/>
              <a:t>Services</a:t>
            </a:r>
            <a:endParaRPr lang="en-US" dirty="0"/>
          </a:p>
        </p:txBody>
      </p:sp>
    </p:spTree>
    <p:custDataLst>
      <p:tags r:id="rId1"/>
    </p:custDataLst>
  </p:cSld>
  <p:clrMapOvr>
    <a:masterClrMapping/>
  </p:clrMapOvr>
  <p:transition xmlns:p14="http://schemas.microsoft.com/office/powerpoint/2010/main">
    <p:cut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 bwMode="auto">
          <a:xfrm>
            <a:off x="1014350" y="1490350"/>
            <a:ext cx="8534400" cy="4953000"/>
          </a:xfrm>
          <a:prstGeom prst="rect">
            <a:avLst/>
          </a:prstGeom>
          <a:solidFill>
            <a:srgbClr val="FFFF00">
              <a:alpha val="50000"/>
            </a:srgbClr>
          </a:solidFill>
          <a:ln w="38100" cap="flat" cmpd="sng" algn="ctr">
            <a:solidFill>
              <a:srgbClr val="FFC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24577" name="Rectangle 2"/>
          <p:cNvSpPr>
            <a:spLocks noGrp="1" noChangeArrowheads="1"/>
          </p:cNvSpPr>
          <p:nvPr>
            <p:ph type="title"/>
          </p:nvPr>
        </p:nvSpPr>
        <p:spPr>
          <a:xfrm>
            <a:off x="762000" y="838200"/>
            <a:ext cx="8153400" cy="304800"/>
          </a:xfrm>
        </p:spPr>
        <p:txBody>
          <a:bodyPr/>
          <a:lstStyle/>
          <a:p>
            <a:pPr lvl="1"/>
            <a:r>
              <a:rPr lang="en-US" sz="2300" dirty="0" smtClean="0"/>
              <a:t>Case Study A:  Part 5 – What can you do as a leader?</a:t>
            </a:r>
          </a:p>
        </p:txBody>
      </p:sp>
      <p:sp>
        <p:nvSpPr>
          <p:cNvPr id="93188" name="AutoShape 4" descr="data:image/jpg;base64,/9j/4AAQSkZJRgABAQAAAQABAAD/2wCEAAkGBhQSDhQQEA8QEBQUEBkQFA4QFhEQFBAQFBwWFRUQFRQYHycqFxkjGRUTHy8iIycsLCwsFR4xQTIqNSYrLSkBCQoKBQUFDQUFDSkYEhgpKSkpKSkpKSkpKSkpKSkpKSkpKSkpKSkpKSkpKSkpKSkpKSkpKSkpKSkpKSkpKSkpKf/AABEIAMwA9wMBIgACEQEDEQH/xAAbAAACAwEBAQAAAAAAAAAAAAAABAMFBgECB//EAEkQAAIBAQMEDQkIAQMDBQEAAAECAwAEERIFEyFTBhQVIzEzUVJzkZKT0iIyQVRxsbLR0wc0QmFiY3Kis0OBoSR0dRY1NsHCCP/EABQBAQAAAAAAAAAAAAAAAAAAAAD/xAAUEQEAAAAAAAAAAAAAAAAAAAAA/9oADAMBAAIRAxEAPwD7PLaXzhRERrkViWcp5xYXABTzf+a5nJtXF3j/AE67H94foo/ilpqgUzk2ri7x/p0ZybVxd4/06booFM5Nq4u8f6dGcm1cXeP9Om6KBTOTauLvH+nRnJtXF3j/AE6booFM5Nq4u8f6dGcm1cXeP9Om6KBTOTauLvH+nRnJtXF3j/TrL5O+0FpctS5KNjwtCpkefPBlzVyFXC4LyTnI9HovOnRV3YNl1kmWV4bVFKsK4pShLZpdOluTzT1Ggdzk2ri7x/p0ZybVxd4/06rZNnNhWBLQ1tgELsUSYtcjuvnKG4CR/wDR5KnynssslnEZtFqihEq4o84cOcGjzb+HhGj86BvOTauLvH+nRnJtXF3j/TqOfL0CWiOzPMizSrijhN+J106VHpHknqqHZRsijsNjltc2IpGAcK6WdmIVUH5liBQNZybVxd4/06M5Nq4u8f6dYXYr9sAtNshslpsEtia0xCazu7iRZkYMVbzVuDBWuOm8i6qu1f8A9ARLLI0eT55bLHMIXtiuo8psWErGRpvCORew0D0UH07OTauLvH+nRnJtXF3j/TrH7LPtjsNiiVlfbUsiJIlniNzZuRQ6u7Eb2CjAgHSbxo9Ij2WfbNZLEqLcbROwUtZYmF8IYBt8e64EXjRw/kKDaZybVxd4/wBOjOTauLvH+nTQNdoFM5Nq4u8f6dGcm1cXeP8ATpuigUzk2ri7x/p0ZybVxd4/06booFM5Nq4u8f6dGcm1cXeP9Om6KBTOTauLvH+nRnJtXF3j/TpuigWs1oYuyOiqQqterFwQxYelRd5v/NFcj+8P0UfxS0UBH94foo/ilpqlY/vD9FH8UtNUBRRRQFFFFAUUUUBRRRQfJtjv/wA5yh/2Q+Gx1P8AZMdGWf8AyU3/AOqNhViefZPlDKcattUxbWSZlZBLKogVgmIDEAYXvI/Llq+H2evFPa3sVuazJbWMk0LRJNhka/FJC5YYCcR4Qw6hQfNNkf8A8Lyb/wB2nvtNfTPtY2ObcyTMqm6WAbbhN9xDxXkge1cS+0jkrxsk+zGO05Ns+TYp2s8NnZXBwCV3KBlUkkgaS7k6NJPopj/0VO00882UM7JLYmsKnMIiQxu2JmCB/KY/meTkuoEfs0tj5QUZXnW5mgWxwryLHcbTLcDozk4YfxiWtXsgyLBarM0FrQPCbnZWZox5BxAllIIAIv4fRSOwfYtudYlsYmz6ozFHKCMgOS5U3E3+UW06OGvOz/ItoteTZrLZJEiklATHIWVc2SM4pKgnSt44PTQfKNg9lGU9kBtkCFLFk6IQ2cHEd7jVo7OgLabz5chvvI4Dw18/yd/7Ba//ACFl+C019m+znYRlbJ7xwSTZP2mHd5o4gxlkLKbjiMYvN+AcPAt1Ze0fYdlBBNYoJrIbJLaUnz0hkEqiISKgKheG6Q3gX3kDSNNAl9p2S4l2O5JtCwxrK8MKvMqqHdRZxcGYC9rsK3X8F1TfbrkyJLPk2ZIY0kkRs5KiqrS3JBdjYDyrrzw8tbn7QvsymteS7HYbJJENq4VxTlkxIkebB8lW0nQaj+077NrTlGz2KKzvZ1azKwcys6gkrGow4UN+lDw3eig+lrwV2uCu0BRRRQFFFFAUUUUBRRRQKx/eH6KP4paKI/vD9FH8UtFBE8xW0PdG771HpUxi7ypecwqXbjery9cHjoRv+ofoo/ilpLZRY89Y5IlMt7YQDCY8YuZTiukIV1F17KfOUMum+6gd22/q8vXB46NuN6vL1weOvncOxm1XPnLLGpkzUxWJohEjR2aeJogpbyTnGW4C8DH51wJGm2FZJls2ejm0qrJFBKSpaSzIt8eO4+egbNknhzd/poL7bjery9cHjo243q8vXB46ZxjlFUmzHJW2rC9mUm+Ro1xIQGjGcQmUEkaVALcuigstuN6vL1weOjbjery9cHjr53FsZtmcd7TDtgSSvJLEjxYZJpbJCiugZh5CTCdBfcRjVrvSHtj2xy1w2yB5TnUJU2h2dTdaYbKIBaUBN5Ehd1bRffGhu0mg223G9Xl64PHRtxvV5euDx0xjHKK7jHKKBbbbery9cHjo22/q8vXB46zuXtjQmyhFKIUZTZ5xLKSuic7W2uTeb9Gae64XDTzjfl//AEraTHZcVlJzUMEMqE2aQsYbLaonNzOAymWWIAk+jFoABoPpW3G9Xl64PHRtxvV5euDx1NEwwjgGgaL77vyvr3jHKKBbbjery9cHjo22/q8vXB46yez3Y5NaZFay6C9knsssiuEZL83PAwvIv32HBo9ExqqtOxm0GYytZsRlsV7qu12CWyV7TK6B2cFcBmj8pb8QQLwUH0Hbjery9cHjo243q8vXB46zmwTJMsAkzq5lGis6LAWVrpo4gs81ykhcTYRoOnNk+nTrMY5RQLbcb1eXrg8dG239Xl64PHXu1QJIhjkCurC5kPAw5DyivmE2wu07TjWODNynJ1viluaC9rRNm1gQnHdeVQjEOD0kUH0zbjery9cHjo243q8vXB46yWxzIU0dsxPFgRbRaZw+KMqUnWEIoAN+IYXBF1wwfmL9tjHKKBbbjery9cHjo22/q8vXB46YxjlFfPdkWxSeaXKEixK2cezmAERFnwizrI6uXGFQElBQ3Yr7+Sg3W3G9Xl64PHRtxvV5euDx1kth+RZ4bYzzxYFFmkhxhozGzm1TyjNqGJSMxyIVU+aLlvJWtrjHKKBfbjery9cHjo243q8vXB46ZxjlFZjZ3k2SeFBAhkdHMixnNtDI2BkzVoVmXyGDsMS6UNzeigvttt6vL1weOjbjery9cHjr59lLY5aZXtDtZseeezWlAXibMyJaFE0VzPdi2qkIJGgiMjhYg/RbNCkaLGgCqihFUcCqouAH+1AvZZS08l6Mm9x6GwG/TLzWNFSRH/qH6KP4paKCM2ZGtD40Rroo/OUNd5UvLU250Wpj7C/KvMf3h+ij+KWmqBfc6LUx9hflRudFqY+wvypiigrrZk+O+Peo+NH4F5G/KmdzotTH2F+Vebbwx9KPc1NUC+50Wpj7C/Kjc6LUx9hflTFFAq+TorjvMXBzF+VQ2DJ8eZj3qPi1/AvIPyp5+A+yocn8TH0a+4UBudFqY+wvyo3Oi1MfYX5UxRQL7nRamPsL8qVsmT48cu9R8aPwLq4vyqypSx+fN0o/xxUHvc6LUx9hflRudFqY+wvypiigX3Oi1MfYX5UtJk+PPoM1H5j/AIF5Y/yqxpWXj4/4P746D1udFqY+wvyo3Oi1MfYX5UxRQL7nRamPsL8qWyjk+MQvvUfBzF+VWNK5T4l/ZQLSmBbQlnMK45EaRd6GHCmENe911/lDRw03udFqY+wvypa15NdrXDOsiKsSupjKMzPnMN5DhgFuwj8J9NWNAvudFqY+wvyrm50Wpj7C/KmaKCpgssawu+11kIkluREjLNdI9yi+4dZAr3kzMzxCRYFXynQo6IGSSNmjdDdeLwysLwSDdoJFdzLvZpEhlEMjPKFlK5zAxkfysN4vu9tS5GsBhgWIlDhvF8augN5JvON3JY33lixJJJ9NBLudFqY+wvyo3Oi1MfYX5UxRQJWaBVncIqrvUfmgLfpl5KK9x/eH6KP4paKAj+8P0UfxS01Ve9mDWhyS4uiTzXkT8UvoUi+oMmzQzhs29ovRgrJI1rhdSQGF6SEG4ggg3XUFvRSu5y86XvZ/FRucvOl72fxUBbeGPpR7mpqqy2ZPW+PypeNA42fkb9Vcvhz+1s7Jnc0Zs3nbReIwQuI+Vo0kDTw6eQ0FpRSu5y86XvZ/FRucvOl72fxUDD8B9lQ5P4mPo19wrw+TluPlS8Gtn8VVrSwwwQmRrR5YVFWM2yZmbAXICR4j5qseD0UF7RSi5PUi/FN/vLOP+MVd3OXnS97P4qBqlLH583Sj/HFXdzl50vez+KkM1HGJ5JJJFRJLyxln0DNxcjaT/wA0FzRSFmsySIHU2gAi8B3tUTf7o5BH+4qXc5edL3s/ioGqVl4+P+D++Ojc5edL3s/ipaTJ655Bil8x/wDVn5Y/1UFnRVPHaIWtG18VqElzMA+3UVlQqGZZGuVgC68BPnCntzl50vez+KgapXKfEv7KNzl50vez+Klso5PUQucUvBrZ/FQWdFU9qtMEcqxPLMHbDoD2pgucYpHjcG5MTgquIi8i4U9ucvOl72fxUDVcpbc5edL3s/io3OXnS97P4qAyd5h6WX/I9NVTJHFFA8skkqqskhLZ2c6BI40ANeSdAuGkk1PYFimjzkbzFbyumS0oyspKsrKzAqQQRcRQWVFK7nLzpe9n8VG5y86XvZ/FQEf3h+ij+KWio7LAFnkALHe4/OZ39MvOJurtB6Xj5LuHNJdfy3y0lkDJskbTySiNDNKJc1E7zKpwqrNnHVSSSOC64AC7009H94foo/ilpqgKKKKBW28MfSj3NVbZ9jWC37aWWQqyTY43IN8kpgII8m/CFhu0nRhQDQKsrbwx9KPc1NUBRRRQeX4D7KoMsZJe0WKJI0jZwgKSSSSwmBzGUEyNGpJYYjovF950ir9+A+yocn8TH0a+4UEsSkKATiIABY6MRHpr3RRQFUeVcmG0Q2iJSt+fjkAYsqsYhZ5QjFdIDYMJI0gG/TV5Slj8+bpR/jioIcgWB4bOI5CCcbsFVmdY0d2dIVZgCyopCgkDzeADQLGiigKVl4+P+D++OmqVl4+P+D++OghsuTmFpltEhUllWKIC/e4VGI33/iaRmJu9Cx8lWFFFAUrlPiX9lNUrlPiX9lBTZY2OSS22O0KUAXM3MWdWjzUrSSDNgXTB1KqMZGAriGmtHRRQFFFFBVS2ITWWWIqHxPLcpZovLEjlTnFBKEMAcQBIuvr1seyU0EJV2xO8rzOcTP5TknDiYAtcMIvuF919w4Azk7zD0sv+R6aoCiiigVj+8P0UfxS0UR/eH6KP4paKCJoS1oe6R03qPQojN/lS85TUu1G18vVD4KE49+ij+KWsFbYGay3CK1OBugIQ8dqZ1tkkoexS+WMQOAvhkOhb+EGg3u1G18vVD4KNqNr5eqHwUyvBprtBWWyytfHv8vGj0Q8jfopnaja+Xqh8FFt4Y+lHuaqdyBb7ViFpwtYogWUWrDiUzYhEyi4NhePRGcRJ5RQXG1G18vVD4KNqNr5eqHwUpsVJ3PswYOrCzRqyyK6OHVQrBlYAg3g8NWtAo9ka47/LwckPgqGwWVszHv8ALxa+iHkH6KffgPsrPZe+4QECYkTWV7oRM5uWSJnLLECSuAOSCLtHsoLnaja+Xqh8FG1G18vVD4KpMlopynM6QyQ4Y2jYmKZBanLIzTNIVwsFuCppJ8qT8N1+loFdqNr5eqHwUrZLK2Obf5eNHoh1cX6KtKrZLsFpxY7sRvzecx3ZqPzc35V/8dNAxtRtfL1Q+Cjaja+Xqh8FZGzw4hkwiGXPpHCJC0FoSQRqjKwM7ACNVbGWQ6X8kaL1v3FArtRtfL1Q+ClpLK2fTf5fMf0Q8sf6Ks6Vl4+P+D++OgNqNr5eqHwUbUbXy9UPgrP2mKZrZa0s+cUvHZ/LlNpjjuUy55YZSrBWwsnmaAWvuvvqz2IxOuTrMsqlHWzorIS5KkKBccQBvuuvvHDfw8NA7tRtfL1Q+Clso2Vsy+/y8HJD4Ks6VynxL+ygNqNr5eqHwUbUbXy9UPgqpyyP+vg4+42edGZFndFxBMN4UFQ2hrr9Po9NR7BYM3Z3jCAIkgRJhDJZWtCiOO+V45NOLFiUn04KC62o2vl6ofBRtRtfL1Q+CmqKCssFlbAd/l42T0Q6x/0UztRtfL1Q+CoobsxJixXY5r8GPFdjkvw4PKvu4MOnk01jbAJg1gYxO+CyWSNY54J2Ky42jtjlzdmZEQI2JxewW4X3m8NvtRtfL1Q+Cjaja+Xqh8FNUUCNliKzyXuz73HpbALtMvNArte4/vD9FH8UtFAR/eH6KP4paapBse2HwYOKjvxYudLyVLv37X96Bqild+/a/vRv37X96AtvDH0o9zU1VbbM7fHxXGjn8jUxv37X96Bqild+/a/vRv37X96Bh+A+yocn8TH0a+4V4fO3HiuD9dQ2DO5mPiuLXn8goLGild+/a/vRv37X96BqlLH583Sj/HFXd+/a/vS1kzuObiuNHP1cVBZ0Urvv7X96N+/a/vQNUrLx8f8AB/fHRv37X96XlzufTivMfn8sdBZUUrv37X96N+/a/vQNUrlPiX9lG/ftf3pfKOdzL8VwfroLKild+/a/vRv37X96Bqild+/a/vRv37X96Ayf5h6WX/I9NVWZPzuA8VxsnP1j0zvv7X96Bqild+/a/vRv37X96Aj+8P0UfxS0VHZcWfkx4eKjuw38svLXaD2nHv0UfxS1lpbbJJY2C2yQzm3TWWF4jEuJzI6pjUKb1jjUuRw4YzWpj+8P0UfxS1LFZEXzY0XTi8lVGm66/R6btFB7QXAC8m4XXm68/mbq9UUUCtt4Y+lHuas3l/K8iS2tEtAF0FkMaEoubaaaSJ/KuJQMAgLkHBeGuN1x0lt4Y+lHuapGsaEsTGhLLhYlVJZToKk+kXAaPyoK3Ypa2ksitIzMwkljJYqxGblkQJjGh8IULi/Fhv8ATVxXmOMKoVQFAFwVQAABwAAcAr1QeX4D7KosrWxorHZ3WbNb/ZUYnB5cbyRI8flcF6s3Bp0VevwH2UrZbOrwRh0Vxm1NzAML8N19x9poKLI1un3RkhlZ2GCaRhigeNFEqLZcAQ4o74i4IcC9ozdfcTWpqOOBVLFVVSxxMVABZuC83cJqSgKqLbaESK0vLM0CBwWlQgMowQ6F0HSeAAC8k6NN1W9JWeIM0ysoYGUXqwBB3uLhBoMfZMrziWIPaWLA2YLBihfOx2iedJBIUG+OkKLeVNwaFjwE372oEsUYKlY4wUvCkKowBvOC6NF/puqegKVl4+P+D++OmqVl4+P+D++OgzNuykwktpgtrYYrNIWLtC4jtS3FViUjQEW9WvvF7qNLK12oyfNjhje8NijVsQuN5IGnRQbBHexzUd7C5jhW9hw3E3adIHVU0cYUBVAUDQFAAAHIAKD1SuU+Jf2U1SuU+Jf2UFRlu2XW2COO0sj3h5IS0YjFm8oM7qwvLMblW433reNCvXvYjazJHK4naeIzbw8jI7mLAl7EqB5LOJGW/ThYcAIAuJLIjMGaNGYcDMqkj06CeCuwWVEvCIiXm8hFC3nlN1BLRRRQVjzKllleSUwopmLTAgGNQ8l7gkG672Vm0yhIIrLIbW+I2tUzbSQs+1pZykayRBd8coVQ6QU0t5RU4tZYkBjYMAQZZQQdIIzj6CK9pk+JSpWKMFb8JCqCuLhwm7Rf+VAxRRRQKx/eH6KP4paKI/vD9FH8UtFBE0rC0PhjL71HpvUXeVLy1Ltl9Se0leWYCWQsbgIUJOkXC+a81hJbfM1ikksUkkkJnzoAtDPPCiiERxMzksodhJIy33gMF0XtcG92xJqD2ko2xJqD2kpkV2grbZaHvj3k8aPxJyNTG2X1J7SUW3hj6Ue5qymW7Sj2u0Rx202ZkszJK0k8qrnHERQpFjGBUQEl0w8Zwk47g1e2H1J7SUbYk1B7SUnsVtOOyI1x8+RQxklnEgV3USrJISzIwAYXngYXXi41bUCj2h7jvJ4OclQ2C0PmY95PFr+JOQU+/AfZWW2U2pFsESGVoZJFCQyiWSzrHKU46RlIBVBe2Fr7yAACSKDQ7Yk1J7SUbYk1B7SVnNjmUXa3zLI2cLGYkB5f+njilVYFaInCokiZXVgAThY+VebtbQK7Yk1B7SUtZLQ+ObeTxo/Emriqzqkynao44LU85cRhxizbPG58iEBVZSCCSQOEDTpIF9BY7ZfUntJRtiTUHtJWXyVAZGsaraJZGVTPLLFaJ5IhCjMI7OSGwynGwTEwJZYHv03VsqBXbEmoPaSl5LQ+fTeT5j/iTljqypWXj4/4P746A2y+pPaSjbEmpPaSsTlnKKma0Zi0sgWSOKVJJ5rjJn487IVxXwQKt8ZZbgc4dFygnVbFJmawws5ctg0s5LFriQGDHS6kAFWOkrcTpJoHNsSag9pKXyjaHzL7yeDnJVlSuU+Jf2UBth9Se0lG2H1J7SVQ7IrSu3YIY7QYJyMeJpXWPNnGqpmS2GV3fRdcSApN4IW/mwSWRklxPnIwyKkmee1q8gRc80czgYlLXcGgHFwG8AL/AGxJqD2ko2xJqD2kpqigrMn2h8B3k8bJ+JNY9M7ZfUntJS+NBZpDK5RMcuNwzR4Vzj3tjUgr7QRdWIsVukvjBnlJEsYsuGWZ0nvtjraMBJ3+MQZsXvfcl5Fw00G/2xJqD2ko2xJqD2kpqigRssjGeTEmDeo9F4N+mXkrte4/vD9FH8UtFAR/eH6KP4paapB7SFtD3hzfFH5qSP8Ail9Kg1LuivNl7qfw0DVFK7orzZe6n8NG6K82Xup/DQFt4Y+lHuamqrLZlBb4/Jl40Hip+Rv00zuivNl7qfw0DVFK7orzZe6n8NG6K82Xup/DQMPwH2VDk/iY+jX3CvD5RW4+TLwaqfw1DYMoLmY/Jl4tf9KfkH6aCxopXdFebL3U/ho3RXmy91P4aBqlLH583Sj/ABxV3dFebL3U/hpWyZQXHL5MvGj/AEp9XF+mgtKKV3RXmy91P4aN0V5svdT+GgapWXj4/wCD++OjdFebL3U/hpaTKC59Dhl8x/8ASn5Y/wBNBZ0UruivNl7qfw0borzZe6n8NA1SuU+Jf2UborzZe6n8NLZRygphcYZeDVT+Ggs6KV3RXmy91P4aN0V5svdT+GgaopXdFebL3U/ho3RXmy91P4aAyf5h6WX/ACPTVVtitoVSCso3yQ8VNwM7EHzeQimN0V5svdT+GgaopXdFebL3U/ho3RXmy91P4aAj+8P0UfxS0VHZZw08hAYb3H5yunpl5wF9doPace/RR++Ws2mVLQglRpsTRZQs0V80ceNrPO8KMRmiFAYu5U3EgC4i/SNIovncHSM0guPp0y0uuxuyiPNCyWfN487m82mHOAXB7rvOAAAPoAHJQWIrtFFArbeGPpR7mpqlbbwx9KPc1NUBRRRQeX4D7KhyfxMfRr7hUz8B9lQ5P4mPo19woGKKKKApSx+fN0o/xxU3Slj8+bpR/jioG6KKKApWXj4/4P746apWXj4/4P746BqiiigKVynxL+ymqVynxL+ygaoqqyjbLQryCOHEqwl0IXEWkANy3Y1v03DDovvvxClLLb7aSMdniUZ3Cbr783jhGIeVzHmOnV8A4CGgorPPly2AkDJZIBcBs/HpCC8NddwPwL+fDcNNRTZatocFbBemZDmMkFhKTpjx4gDcLuBeXhoNNRWbbLNtJI2jm1uUh8SzkG/SMAZMRuI9IAuJvPBXVy5bMRG5puvOEmVV0KwAv0HhGn/jTw0GjorO2fLdsJIbJ5QXMQ2NTdcGwrd+I4govvA0k8FxMliyra2mVZLEEjbCMQkDFD5RZjo0i7ALtGkNpN4oLSP7w/RR/FLRRH94foo/ilooIzaUW0PjdVvijuxELf5UvLU26MWuj7a/OpytcwDkFBDujFro+2vzo3Ri10fbX51NgHIKMA5BQIWy3x3x77HxoPnryN+dM7oxa6Ptr86nwDkFcwDkFBDujFro+2vzo3Ri10fbX51NgHIKMA5BQLvlCK477Hwc9fnUNgyhHmY99j4tfxLyD86ewDkFGAcgoId0YtdH21+dG6MWuj7a/OpsA5BRgHIKCHdGLXR9tfnStkt8eOXfY+NH4l1cX51YYByCu4ByCgg3Ri10fbX50boxa6Ptr86mwDkFGAcgoId0YtdH21+dLSW+PPoc7H5j/jXlT86fwDkFdwDkFBBujFro+2vzo3Ri10fbX51NgHIKMA5BQQ7oxa6Ptr86Wyjb4zC4EsfBz1+dP4ByCu4ByCgg3Ri1sfbX50boxa6Ptr86mwDkFGAcgoId0YtdH21+dG6MWtj7a/OpsA5BRgHIKCHdGLXR9tfnRujFrY+2vzqbAOQUYByCgh3Ri1sfbX50boxa6Ptr86mwDkFGAcgoFLNOrTuVZW3uPzSGu0y8lFOAUUH/2Q=="/>
          <p:cNvSpPr>
            <a:spLocks noChangeAspect="1" noChangeArrowheads="1"/>
          </p:cNvSpPr>
          <p:nvPr/>
        </p:nvSpPr>
        <p:spPr bwMode="auto">
          <a:xfrm>
            <a:off x="79375" y="-727075"/>
            <a:ext cx="1828800" cy="1504950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" name="Rectangle 7"/>
          <p:cNvSpPr>
            <a:spLocks noChangeArrowheads="1"/>
          </p:cNvSpPr>
          <p:nvPr/>
        </p:nvSpPr>
        <p:spPr bwMode="gray">
          <a:xfrm>
            <a:off x="1066800" y="1295400"/>
            <a:ext cx="8229600" cy="533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9" tIns="36571" rIns="36571" bIns="36571"/>
          <a:lstStyle/>
          <a:p>
            <a:pPr marL="458788" lvl="1" indent="-457200" algn="just" defTabSz="1019175" eaLnBrk="0" hangingPunct="0">
              <a:buClr>
                <a:schemeClr val="folHlink"/>
              </a:buClr>
              <a:buSzPct val="125000"/>
              <a:buFont typeface="Wingdings" pitchFamily="2" charset="2"/>
              <a:buChar char="§"/>
            </a:pPr>
            <a:endParaRPr lang="en-US" sz="2400" b="1" dirty="0" smtClean="0">
              <a:solidFill>
                <a:schemeClr val="bg2"/>
              </a:solidFill>
            </a:endParaRPr>
          </a:p>
          <a:p>
            <a:pPr marL="458788" lvl="3" indent="-457200" algn="just" defTabSz="1019175" eaLnBrk="0" hangingPunct="0">
              <a:buClr>
                <a:schemeClr val="folHlink"/>
              </a:buClr>
              <a:buSzPct val="125000"/>
              <a:buFont typeface="Wingdings" pitchFamily="2" charset="2"/>
              <a:buChar char="§"/>
            </a:pPr>
            <a:r>
              <a:rPr lang="en-US" sz="2300" b="1" dirty="0" smtClean="0">
                <a:solidFill>
                  <a:schemeClr val="accent1"/>
                </a:solidFill>
                <a:sym typeface="Wingdings" pitchFamily="2" charset="2"/>
              </a:rPr>
              <a:t>Make the case that there are strategic, financial, operational, compliance, reporting </a:t>
            </a:r>
            <a:r>
              <a:rPr lang="en-US" sz="2300" b="1" u="sng" dirty="0" smtClean="0">
                <a:solidFill>
                  <a:schemeClr val="accent1"/>
                </a:solidFill>
                <a:sym typeface="Wingdings" pitchFamily="2" charset="2"/>
              </a:rPr>
              <a:t>and</a:t>
            </a:r>
            <a:r>
              <a:rPr lang="en-US" sz="2300" b="1" dirty="0" smtClean="0">
                <a:solidFill>
                  <a:schemeClr val="accent1"/>
                </a:solidFill>
                <a:sym typeface="Wingdings" pitchFamily="2" charset="2"/>
              </a:rPr>
              <a:t> reputational risks associated with any new venture, and that these risks </a:t>
            </a:r>
            <a:r>
              <a:rPr lang="en-US" sz="2300" b="1" u="sng" dirty="0" smtClean="0">
                <a:solidFill>
                  <a:schemeClr val="accent1"/>
                </a:solidFill>
                <a:sym typeface="Wingdings" pitchFamily="2" charset="2"/>
              </a:rPr>
              <a:t>cost money</a:t>
            </a:r>
            <a:r>
              <a:rPr lang="en-US" sz="2300" b="1" dirty="0" smtClean="0">
                <a:solidFill>
                  <a:schemeClr val="accent1"/>
                </a:solidFill>
                <a:sym typeface="Wingdings" pitchFamily="2" charset="2"/>
              </a:rPr>
              <a:t> (sometimes ALOT) when not addressed upfront</a:t>
            </a:r>
          </a:p>
          <a:p>
            <a:pPr marL="1373188" lvl="3" indent="-457200" algn="just" defTabSz="1019175" eaLnBrk="0" hangingPunct="0">
              <a:buClr>
                <a:schemeClr val="folHlink"/>
              </a:buClr>
              <a:buSzPct val="125000"/>
              <a:buFont typeface="Wingdings" pitchFamily="2" charset="2"/>
              <a:buChar char="§"/>
            </a:pPr>
            <a:endParaRPr lang="en-US" sz="2300" b="1" dirty="0" smtClean="0">
              <a:solidFill>
                <a:schemeClr val="accent1"/>
              </a:solidFill>
              <a:sym typeface="Wingdings" pitchFamily="2" charset="2"/>
            </a:endParaRPr>
          </a:p>
          <a:p>
            <a:pPr marL="458788" lvl="3" indent="-457200" algn="just" defTabSz="1019175" eaLnBrk="0" hangingPunct="0">
              <a:buClr>
                <a:schemeClr val="folHlink"/>
              </a:buClr>
              <a:buSzPct val="125000"/>
              <a:buFont typeface="Wingdings" pitchFamily="2" charset="2"/>
              <a:buChar char="§"/>
            </a:pPr>
            <a:r>
              <a:rPr lang="en-US" sz="2300" b="1" dirty="0" smtClean="0">
                <a:solidFill>
                  <a:schemeClr val="accent1"/>
                </a:solidFill>
                <a:sym typeface="Wingdings" pitchFamily="2" charset="2"/>
              </a:rPr>
              <a:t>Recommend a “New Initiative Risk Assessment”!</a:t>
            </a:r>
          </a:p>
          <a:p>
            <a:pPr marL="506413" lvl="3" indent="4763" algn="just" defTabSz="1019175" eaLnBrk="0" hangingPunct="0">
              <a:buClr>
                <a:schemeClr val="folHlink"/>
              </a:buClr>
              <a:buSzPct val="125000"/>
            </a:pPr>
            <a:r>
              <a:rPr lang="en-US" sz="2300" b="1" dirty="0" smtClean="0">
                <a:solidFill>
                  <a:schemeClr val="accent1"/>
                </a:solidFill>
                <a:sym typeface="Wingdings" pitchFamily="2" charset="2"/>
                <a:hlinkClick r:id="rId4"/>
              </a:rPr>
              <a:t>http://www.ucop.edu/riskmgt/erm/riskmitwb.html</a:t>
            </a:r>
            <a:endParaRPr lang="en-US" sz="2300" b="1" dirty="0" smtClean="0">
              <a:solidFill>
                <a:schemeClr val="accent1"/>
              </a:solidFill>
              <a:sym typeface="Wingdings" pitchFamily="2" charset="2"/>
            </a:endParaRPr>
          </a:p>
          <a:p>
            <a:pPr marL="1373188" lvl="3" indent="-457200" algn="just" defTabSz="1019175" eaLnBrk="0" hangingPunct="0">
              <a:buClr>
                <a:schemeClr val="folHlink"/>
              </a:buClr>
              <a:buSzPct val="125000"/>
              <a:buFont typeface="Wingdings" pitchFamily="2" charset="2"/>
              <a:buChar char="§"/>
            </a:pPr>
            <a:endParaRPr lang="en-US" sz="2300" b="1" dirty="0" smtClean="0">
              <a:solidFill>
                <a:schemeClr val="accent1"/>
              </a:solidFill>
              <a:sym typeface="Wingdings" pitchFamily="2" charset="2"/>
            </a:endParaRPr>
          </a:p>
          <a:p>
            <a:pPr marL="458788" lvl="3" indent="-457200" algn="just" defTabSz="1019175" eaLnBrk="0" hangingPunct="0">
              <a:buClr>
                <a:schemeClr val="folHlink"/>
              </a:buClr>
              <a:buSzPct val="125000"/>
              <a:buFont typeface="Wingdings" pitchFamily="2" charset="2"/>
              <a:buChar char="§"/>
            </a:pPr>
            <a:r>
              <a:rPr lang="en-US" sz="2300" b="1" dirty="0" smtClean="0">
                <a:solidFill>
                  <a:schemeClr val="accent1"/>
                </a:solidFill>
                <a:sym typeface="Wingdings" pitchFamily="2" charset="2"/>
              </a:rPr>
              <a:t>Assure colleagues that the point is not to say “no” to the venture, but to say “</a:t>
            </a:r>
            <a:r>
              <a:rPr lang="en-US" sz="2300" b="1" u="sng" dirty="0" smtClean="0">
                <a:solidFill>
                  <a:schemeClr val="accent1"/>
                </a:solidFill>
                <a:sym typeface="Wingdings" pitchFamily="2" charset="2"/>
              </a:rPr>
              <a:t>yes</a:t>
            </a:r>
            <a:r>
              <a:rPr lang="en-US" sz="2300" b="1" dirty="0" smtClean="0">
                <a:solidFill>
                  <a:schemeClr val="accent1"/>
                </a:solidFill>
                <a:sym typeface="Wingdings" pitchFamily="2" charset="2"/>
              </a:rPr>
              <a:t>”.  The Risk Assessment does not make decisions for you, but helps you organize your thinking</a:t>
            </a:r>
          </a:p>
        </p:txBody>
      </p:sp>
      <p:sp>
        <p:nvSpPr>
          <p:cNvPr id="7" name="Oval 6"/>
          <p:cNvSpPr/>
          <p:nvPr/>
        </p:nvSpPr>
        <p:spPr bwMode="auto">
          <a:xfrm>
            <a:off x="8915400" y="152400"/>
            <a:ext cx="990600" cy="990600"/>
          </a:xfrm>
          <a:prstGeom prst="ellips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8979725" y="404750"/>
            <a:ext cx="87382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Risk</a:t>
            </a:r>
          </a:p>
          <a:p>
            <a:pPr algn="ctr"/>
            <a:r>
              <a:rPr lang="en-US" dirty="0" smtClean="0"/>
              <a:t>Services</a:t>
            </a:r>
            <a:endParaRPr lang="en-US" dirty="0"/>
          </a:p>
        </p:txBody>
      </p:sp>
    </p:spTree>
    <p:custDataLst>
      <p:tags r:id="rId1"/>
    </p:custDataLst>
  </p:cSld>
  <p:clrMapOvr>
    <a:masterClrMapping/>
  </p:clrMapOvr>
  <p:transition xmlns:p14="http://schemas.microsoft.com/office/powerpoint/2010/main">
    <p:cut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Rectangle 2"/>
          <p:cNvSpPr>
            <a:spLocks noGrp="1" noChangeArrowheads="1"/>
          </p:cNvSpPr>
          <p:nvPr>
            <p:ph type="title"/>
          </p:nvPr>
        </p:nvSpPr>
        <p:spPr>
          <a:xfrm>
            <a:off x="762000" y="838200"/>
            <a:ext cx="7696200" cy="288925"/>
          </a:xfrm>
        </p:spPr>
        <p:txBody>
          <a:bodyPr/>
          <a:lstStyle/>
          <a:p>
            <a:pPr lvl="1"/>
            <a:r>
              <a:rPr lang="en-US" sz="2300" dirty="0" smtClean="0"/>
              <a:t>Case Study B:  Day in the life of Central Travel Mgmt.</a:t>
            </a:r>
          </a:p>
        </p:txBody>
      </p:sp>
      <p:sp>
        <p:nvSpPr>
          <p:cNvPr id="93188" name="AutoShape 4" descr="data:image/jpg;base64,/9j/4AAQSkZJRgABAQAAAQABAAD/2wCEAAkGBhQSDhQQEA8QEBQUEBkQFA4QFhEQFBAQFBwWFRUQFRQYHycqFxkjGRUTHy8iIycsLCwsFR4xQTIqNSYrLSkBCQoKBQUFDQUFDSkYEhgpKSkpKSkpKSkpKSkpKSkpKSkpKSkpKSkpKSkpKSkpKSkpKSkpKSkpKSkpKSkpKSkpKf/AABEIAMwA9wMBIgACEQEDEQH/xAAbAAACAwEBAQAAAAAAAAAAAAAABAMFBgECB//EAEkQAAIBAQMEDQkIAQMDBQEAAAECAwAEERIFEyFTBhQVIzEzUVJzkZKT0iIyQVRxsbLR0wc0QmFiY3Kis0OBoSR0dRY1NsHCCP/EABQBAQAAAAAAAAAAAAAAAAAAAAD/xAAUEQEAAAAAAAAAAAAAAAAAAAAA/9oADAMBAAIRAxEAPwD7PLaXzhRERrkViWcp5xYXABTzf+a5nJtXF3j/AE67H94foo/ilpqgUzk2ri7x/p0ZybVxd4/06booFM5Nq4u8f6dGcm1cXeP9Om6KBTOTauLvH+nRnJtXF3j/AE6booFM5Nq4u8f6dGcm1cXeP9Om6KBTOTauLvH+nRnJtXF3j/TrL5O+0FpctS5KNjwtCpkefPBlzVyFXC4LyTnI9HovOnRV3YNl1kmWV4bVFKsK4pShLZpdOluTzT1Ggdzk2ri7x/p0ZybVxd4/06rZNnNhWBLQ1tgELsUSYtcjuvnKG4CR/wDR5KnynssslnEZtFqihEq4o84cOcGjzb+HhGj86BvOTauLvH+nRnJtXF3j/TqOfL0CWiOzPMizSrijhN+J106VHpHknqqHZRsijsNjltc2IpGAcK6WdmIVUH5liBQNZybVxd4/06M5Nq4u8f6dYXYr9sAtNshslpsEtia0xCazu7iRZkYMVbzVuDBWuOm8i6qu1f8A9ARLLI0eT55bLHMIXtiuo8psWErGRpvCORew0D0UH07OTauLvH+nRnJtXF3j/TrH7LPtjsNiiVlfbUsiJIlniNzZuRQ6u7Eb2CjAgHSbxo9Ij2WfbNZLEqLcbROwUtZYmF8IYBt8e64EXjRw/kKDaZybVxd4/wBOjOTauLvH+nTQNdoFM5Nq4u8f6dGcm1cXeP8ATpuigUzk2ri7x/p0ZybVxd4/06booFM5Nq4u8f6dGcm1cXeP9Om6KBTOTauLvH+nRnJtXF3j/TpuigWs1oYuyOiqQqterFwQxYelRd5v/NFcj+8P0UfxS0UBH94foo/ilpqlY/vD9FH8UtNUBRRRQFFFFAUUUUBRRRQfJtjv/wA5yh/2Q+Gx1P8AZMdGWf8AyU3/AOqNhViefZPlDKcattUxbWSZlZBLKogVgmIDEAYXvI/Llq+H2evFPa3sVuazJbWMk0LRJNhka/FJC5YYCcR4Qw6hQfNNkf8A8Lyb/wB2nvtNfTPtY2ObcyTMqm6WAbbhN9xDxXkge1cS+0jkrxsk+zGO05Ns+TYp2s8NnZXBwCV3KBlUkkgaS7k6NJPopj/0VO00882UM7JLYmsKnMIiQxu2JmCB/KY/meTkuoEfs0tj5QUZXnW5mgWxwryLHcbTLcDozk4YfxiWtXsgyLBarM0FrQPCbnZWZox5BxAllIIAIv4fRSOwfYtudYlsYmz6ozFHKCMgOS5U3E3+UW06OGvOz/ItoteTZrLZJEiklATHIWVc2SM4pKgnSt44PTQfKNg9lGU9kBtkCFLFk6IQ2cHEd7jVo7OgLabz5chvvI4Dw18/yd/7Ba//ACFl+C019m+znYRlbJ7xwSTZP2mHd5o4gxlkLKbjiMYvN+AcPAt1Ze0fYdlBBNYoJrIbJLaUnz0hkEqiISKgKheG6Q3gX3kDSNNAl9p2S4l2O5JtCwxrK8MKvMqqHdRZxcGYC9rsK3X8F1TfbrkyJLPk2ZIY0kkRs5KiqrS3JBdjYDyrrzw8tbn7QvsymteS7HYbJJENq4VxTlkxIkebB8lW0nQaj+077NrTlGz2KKzvZ1azKwcys6gkrGow4UN+lDw3eig+lrwV2uCu0BRRRQFFFFAUUUUBRRRQKx/eH6KP4paKI/vD9FH8UtFBE8xW0PdG771HpUxi7ypecwqXbjery9cHjoRv+ofoo/ilpLZRY89Y5IlMt7YQDCY8YuZTiukIV1F17KfOUMum+6gd22/q8vXB46NuN6vL1weOvncOxm1XPnLLGpkzUxWJohEjR2aeJogpbyTnGW4C8DH51wJGm2FZJls2ejm0qrJFBKSpaSzIt8eO4+egbNknhzd/poL7bjery9cHjo243q8vXB46ZxjlFUmzHJW2rC9mUm+Ro1xIQGjGcQmUEkaVALcuigstuN6vL1weOjbjery9cHjr53FsZtmcd7TDtgSSvJLEjxYZJpbJCiugZh5CTCdBfcRjVrvSHtj2xy1w2yB5TnUJU2h2dTdaYbKIBaUBN5Ehd1bRffGhu0mg223G9Xl64PHRtxvV5euDx0xjHKK7jHKKBbbbery9cHjo22/q8vXB46zuXtjQmyhFKIUZTZ5xLKSuic7W2uTeb9Gae64XDTzjfl//AEraTHZcVlJzUMEMqE2aQsYbLaonNzOAymWWIAk+jFoABoPpW3G9Xl64PHRtxvV5euDx1NEwwjgGgaL77vyvr3jHKKBbbjery9cHjo22/q8vXB46yez3Y5NaZFay6C9knsssiuEZL83PAwvIv32HBo9ExqqtOxm0GYytZsRlsV7qu12CWyV7TK6B2cFcBmj8pb8QQLwUH0Hbjery9cHjo243q8vXB46zmwTJMsAkzq5lGis6LAWVrpo4gs81ykhcTYRoOnNk+nTrMY5RQLbcb1eXrg8dG239Xl64PHXu1QJIhjkCurC5kPAw5DyivmE2wu07TjWODNynJ1viluaC9rRNm1gQnHdeVQjEOD0kUH0zbjery9cHjo243q8vXB46yWxzIU0dsxPFgRbRaZw+KMqUnWEIoAN+IYXBF1wwfmL9tjHKKBbbjery9cHjo22/q8vXB46YxjlFfPdkWxSeaXKEixK2cezmAERFnwizrI6uXGFQElBQ3Yr7+Sg3W3G9Xl64PHRtxvV5euDx1kth+RZ4bYzzxYFFmkhxhozGzm1TyjNqGJSMxyIVU+aLlvJWtrjHKKBfbjery9cHjo243q8vXB46ZxjlFZjZ3k2SeFBAhkdHMixnNtDI2BkzVoVmXyGDsMS6UNzeigvttt6vL1weOjbjery9cHjr59lLY5aZXtDtZseeezWlAXibMyJaFE0VzPdi2qkIJGgiMjhYg/RbNCkaLGgCqihFUcCqouAH+1AvZZS08l6Mm9x6GwG/TLzWNFSRH/qH6KP4paKCM2ZGtD40Rroo/OUNd5UvLU250Wpj7C/KvMf3h+ij+KWmqBfc6LUx9hflRudFqY+wvypiigrrZk+O+Peo+NH4F5G/KmdzotTH2F+Vebbwx9KPc1NUC+50Wpj7C/Kjc6LUx9hflTFFAq+TorjvMXBzF+VQ2DJ8eZj3qPi1/AvIPyp5+A+yocn8TH0a+4UBudFqY+wvyo3Oi1MfYX5UxRQL7nRamPsL8qVsmT48cu9R8aPwLq4vyqypSx+fN0o/xxUHvc6LUx9hflRudFqY+wvypiigX3Oi1MfYX5UtJk+PPoM1H5j/AIF5Y/yqxpWXj4/4P746D1udFqY+wvyo3Oi1MfYX5UxRQL7nRamPsL8qWyjk+MQvvUfBzF+VWNK5T4l/ZQLSmBbQlnMK45EaRd6GHCmENe911/lDRw03udFqY+wvypa15NdrXDOsiKsSupjKMzPnMN5DhgFuwj8J9NWNAvudFqY+wvyrm50Wpj7C/KmaKCpgssawu+11kIkluREjLNdI9yi+4dZAr3kzMzxCRYFXynQo6IGSSNmjdDdeLwysLwSDdoJFdzLvZpEhlEMjPKFlK5zAxkfysN4vu9tS5GsBhgWIlDhvF8augN5JvON3JY33lixJJJ9NBLudFqY+wvyo3Oi1MfYX5UxRQJWaBVncIqrvUfmgLfpl5KK9x/eH6KP4paKAj+8P0UfxS01Ve9mDWhyS4uiTzXkT8UvoUi+oMmzQzhs29ovRgrJI1rhdSQGF6SEG4ggg3XUFvRSu5y86XvZ/FRucvOl72fxUBbeGPpR7mpqqy2ZPW+PypeNA42fkb9Vcvhz+1s7Jnc0Zs3nbReIwQuI+Vo0kDTw6eQ0FpRSu5y86XvZ/FRucvOl72fxUDD8B9lQ5P4mPo19wrw+TluPlS8Gtn8VVrSwwwQmRrR5YVFWM2yZmbAXICR4j5qseD0UF7RSi5PUi/FN/vLOP+MVd3OXnS97P4qBqlLH583Sj/HFXdzl50vez+KkM1HGJ5JJJFRJLyxln0DNxcjaT/wA0FzRSFmsySIHU2gAi8B3tUTf7o5BH+4qXc5edL3s/ioGqVl4+P+D++Ojc5edL3s/ipaTJ655Bil8x/wDVn5Y/1UFnRVPHaIWtG18VqElzMA+3UVlQqGZZGuVgC68BPnCntzl50vez+KgapXKfEv7KNzl50vez+Klso5PUQucUvBrZ/FQWdFU9qtMEcqxPLMHbDoD2pgucYpHjcG5MTgquIi8i4U9ucvOl72fxUDVcpbc5edL3s/io3OXnS97P4qAyd5h6WX/I9NVTJHFFA8skkqqskhLZ2c6BI40ANeSdAuGkk1PYFimjzkbzFbyumS0oyspKsrKzAqQQRcRQWVFK7nLzpe9n8VG5y86XvZ/FQEf3h+ij+KWio7LAFnkALHe4/OZ39MvOJurtB6Xj5LuHNJdfy3y0lkDJskbTySiNDNKJc1E7zKpwqrNnHVSSSOC64AC7009H94foo/ilpqgKKKKBW28MfSj3NVbZ9jWC37aWWQqyTY43IN8kpgII8m/CFhu0nRhQDQKsrbwx9KPc1NUBRRRQeX4D7KoMsZJe0WKJI0jZwgKSSSSwmBzGUEyNGpJYYjovF950ir9+A+yocn8TH0a+4UEsSkKATiIABY6MRHpr3RRQFUeVcmG0Q2iJSt+fjkAYsqsYhZ5QjFdIDYMJI0gG/TV5Slj8+bpR/jioIcgWB4bOI5CCcbsFVmdY0d2dIVZgCyopCgkDzeADQLGiigKVl4+P+D++OmqVl4+P+D++OghsuTmFpltEhUllWKIC/e4VGI33/iaRmJu9Cx8lWFFFAUrlPiX9lNUrlPiX9lBTZY2OSS22O0KUAXM3MWdWjzUrSSDNgXTB1KqMZGAriGmtHRRQFFFFBVS2ITWWWIqHxPLcpZovLEjlTnFBKEMAcQBIuvr1seyU0EJV2xO8rzOcTP5TknDiYAtcMIvuF919w4Azk7zD0sv+R6aoCiiigVj+8P0UfxS0UR/eH6KP4paKCJoS1oe6R03qPQojN/lS85TUu1G18vVD4KE49+ij+KWsFbYGay3CK1OBugIQ8dqZ1tkkoexS+WMQOAvhkOhb+EGg3u1G18vVD4KNqNr5eqHwUyvBprtBWWyytfHv8vGj0Q8jfopnaja+Xqh8FFt4Y+lHuaqdyBb7ViFpwtYogWUWrDiUzYhEyi4NhePRGcRJ5RQXG1G18vVD4KNqNr5eqHwUpsVJ3PswYOrCzRqyyK6OHVQrBlYAg3g8NWtAo9ka47/LwckPgqGwWVszHv8ALxa+iHkH6KffgPsrPZe+4QECYkTWV7oRM5uWSJnLLECSuAOSCLtHsoLnaja+Xqh8FG1G18vVD4KpMlopynM6QyQ4Y2jYmKZBanLIzTNIVwsFuCppJ8qT8N1+loFdqNr5eqHwUrZLK2Obf5eNHoh1cX6KtKrZLsFpxY7sRvzecx3ZqPzc35V/8dNAxtRtfL1Q+Cjaja+Xqh8FZGzw4hkwiGXPpHCJC0FoSQRqjKwM7ACNVbGWQ6X8kaL1v3FArtRtfL1Q+ClpLK2fTf5fMf0Q8sf6Ks6Vl4+P+D++OgNqNr5eqHwUbUbXy9UPgrP2mKZrZa0s+cUvHZ/LlNpjjuUy55YZSrBWwsnmaAWvuvvqz2IxOuTrMsqlHWzorIS5KkKBccQBvuuvvHDfw8NA7tRtfL1Q+Clso2Vsy+/y8HJD4Ks6VynxL+ygNqNr5eqHwUbUbXy9UPgqpyyP+vg4+42edGZFndFxBMN4UFQ2hrr9Po9NR7BYM3Z3jCAIkgRJhDJZWtCiOO+V45NOLFiUn04KC62o2vl6ofBRtRtfL1Q+CmqKCssFlbAd/l42T0Q6x/0UztRtfL1Q+CoobsxJixXY5r8GPFdjkvw4PKvu4MOnk01jbAJg1gYxO+CyWSNY54J2Ky42jtjlzdmZEQI2JxewW4X3m8NvtRtfL1Q+Cjaja+Xqh8FNUUCNliKzyXuz73HpbALtMvNArte4/vD9FH8UtFAR/eH6KP4paapBse2HwYOKjvxYudLyVLv37X96Bqild+/a/vRv37X96AtvDH0o9zU1VbbM7fHxXGjn8jUxv37X96Bqild+/a/vRv37X96Bh+A+yocn8TH0a+4V4fO3HiuD9dQ2DO5mPiuLXn8goLGild+/a/vRv37X96BqlLH583Sj/HFXd+/a/vS1kzuObiuNHP1cVBZ0Urvv7X96N+/a/vQNUrLx8f8AB/fHRv37X96XlzufTivMfn8sdBZUUrv37X96N+/a/vQNUrlPiX9lG/ftf3pfKOdzL8VwfroLKild+/a/vRv37X96Bqild+/a/vRv37X96Ayf5h6WX/I9NVWZPzuA8VxsnP1j0zvv7X96Bqild+/a/vRv37X96Aj+8P0UfxS0VHZcWfkx4eKjuw38svLXaD2nHv0UfxS1lpbbJJY2C2yQzm3TWWF4jEuJzI6pjUKb1jjUuRw4YzWpj+8P0UfxS1LFZEXzY0XTi8lVGm66/R6btFB7QXAC8m4XXm68/mbq9UUUCtt4Y+lHuas3l/K8iS2tEtAF0FkMaEoubaaaSJ/KuJQMAgLkHBeGuN1x0lt4Y+lHuapGsaEsTGhLLhYlVJZToKk+kXAaPyoK3Ypa2ksitIzMwkljJYqxGblkQJjGh8IULi/Fhv8ATVxXmOMKoVQFAFwVQAABwAAcAr1QeX4D7KosrWxorHZ3WbNb/ZUYnB5cbyRI8flcF6s3Bp0VevwH2UrZbOrwRh0Vxm1NzAML8N19x9poKLI1un3RkhlZ2GCaRhigeNFEqLZcAQ4o74i4IcC9ozdfcTWpqOOBVLFVVSxxMVABZuC83cJqSgKqLbaESK0vLM0CBwWlQgMowQ6F0HSeAAC8k6NN1W9JWeIM0ysoYGUXqwBB3uLhBoMfZMrziWIPaWLA2YLBihfOx2iedJBIUG+OkKLeVNwaFjwE372oEsUYKlY4wUvCkKowBvOC6NF/puqegKVl4+P+D++OmqVl4+P+D++OgzNuykwktpgtrYYrNIWLtC4jtS3FViUjQEW9WvvF7qNLK12oyfNjhje8NijVsQuN5IGnRQbBHexzUd7C5jhW9hw3E3adIHVU0cYUBVAUDQFAAAHIAKD1SuU+Jf2U1SuU+Jf2UFRlu2XW2COO0sj3h5IS0YjFm8oM7qwvLMblW433reNCvXvYjazJHK4naeIzbw8jI7mLAl7EqB5LOJGW/ThYcAIAuJLIjMGaNGYcDMqkj06CeCuwWVEvCIiXm8hFC3nlN1BLRRRQVjzKllleSUwopmLTAgGNQ8l7gkG672Vm0yhIIrLIbW+I2tUzbSQs+1pZykayRBd8coVQ6QU0t5RU4tZYkBjYMAQZZQQdIIzj6CK9pk+JSpWKMFb8JCqCuLhwm7Rf+VAxRRRQKx/eH6KP4paKI/vD9FH8UtFBE0rC0PhjL71HpvUXeVLy1Ltl9Se0leWYCWQsbgIUJOkXC+a81hJbfM1ikksUkkkJnzoAtDPPCiiERxMzksodhJIy33gMF0XtcG92xJqD2ko2xJqD2kpkV2grbZaHvj3k8aPxJyNTG2X1J7SUW3hj6Ue5qymW7Sj2u0Rx202ZkszJK0k8qrnHERQpFjGBUQEl0w8Zwk47g1e2H1J7SUbYk1B7SUnsVtOOyI1x8+RQxklnEgV3USrJISzIwAYXngYXXi41bUCj2h7jvJ4OclQ2C0PmY95PFr+JOQU+/AfZWW2U2pFsESGVoZJFCQyiWSzrHKU46RlIBVBe2Fr7yAACSKDQ7Yk1J7SUbYk1B7SVnNjmUXa3zLI2cLGYkB5f+njilVYFaInCokiZXVgAThY+VebtbQK7Yk1B7SUtZLQ+ObeTxo/Emriqzqkynao44LU85cRhxizbPG58iEBVZSCCSQOEDTpIF9BY7ZfUntJRtiTUHtJWXyVAZGsaraJZGVTPLLFaJ5IhCjMI7OSGwynGwTEwJZYHv03VsqBXbEmoPaSl5LQ+fTeT5j/iTljqypWXj4/4P746A2y+pPaSjbEmpPaSsTlnKKma0Zi0sgWSOKVJJ5rjJn487IVxXwQKt8ZZbgc4dFygnVbFJmawws5ctg0s5LFriQGDHS6kAFWOkrcTpJoHNsSag9pKXyjaHzL7yeDnJVlSuU+Jf2UBth9Se0lG2H1J7SVQ7IrSu3YIY7QYJyMeJpXWPNnGqpmS2GV3fRdcSApN4IW/mwSWRklxPnIwyKkmee1q8gRc80czgYlLXcGgHFwG8AL/AGxJqD2ko2xJqD2kpqigrMn2h8B3k8bJ+JNY9M7ZfUntJS+NBZpDK5RMcuNwzR4Vzj3tjUgr7QRdWIsVukvjBnlJEsYsuGWZ0nvtjraMBJ3+MQZsXvfcl5Fw00G/2xJqD2ko2xJqD2kpqigRssjGeTEmDeo9F4N+mXkrte4/vD9FH8UtFAR/eH6KP4paapB7SFtD3hzfFH5qSP8Ail9Kg1LuivNl7qfw0DVFK7orzZe6n8NG6K82Xup/DQFt4Y+lHuamqrLZlBb4/Jl40Hip+Rv00zuivNl7qfw0DVFK7orzZe6n8NG6K82Xup/DQMPwH2VDk/iY+jX3CvD5RW4+TLwaqfw1DYMoLmY/Jl4tf9KfkH6aCxopXdFebL3U/ho3RXmy91P4aBqlLH583Sj/ABxV3dFebL3U/hpWyZQXHL5MvGj/AEp9XF+mgtKKV3RXmy91P4aN0V5svdT+GgapWXj4/wCD++OjdFebL3U/hpaTKC59Dhl8x/8ASn5Y/wBNBZ0UruivNl7qfw0borzZe6n8NA1SuU+Jf2UborzZe6n8NLZRygphcYZeDVT+Ggs6KV3RXmy91P4aN0V5svdT+GgaopXdFebL3U/ho3RXmy91P4aAyf5h6WX/ACPTVVtitoVSCso3yQ8VNwM7EHzeQimN0V5svdT+GgaopXdFebL3U/ho3RXmy91P4aAj+8P0UfxS0VHZZw08hAYb3H5yunpl5wF9doPace/RR++Ws2mVLQglRpsTRZQs0V80ceNrPO8KMRmiFAYu5U3EgC4i/SNIovncHSM0guPp0y0uuxuyiPNCyWfN487m82mHOAXB7rvOAAAPoAHJQWIrtFFArbeGPpR7mpqlbbwx9KPc1NUBRRRQeX4D7KhyfxMfRr7hUz8B9lQ5P4mPo19woGKKKKApSx+fN0o/xxU3Slj8+bpR/jioG6KKKApWXj4/4P746apWXj4/4P746BqiiigKVynxL+ymqVynxL+ygaoqqyjbLQryCOHEqwl0IXEWkANy3Y1v03DDovvvxClLLb7aSMdniUZ3Cbr783jhGIeVzHmOnV8A4CGgorPPly2AkDJZIBcBs/HpCC8NddwPwL+fDcNNRTZatocFbBemZDmMkFhKTpjx4gDcLuBeXhoNNRWbbLNtJI2jm1uUh8SzkG/SMAZMRuI9IAuJvPBXVy5bMRG5puvOEmVV0KwAv0HhGn/jTw0GjorO2fLdsJIbJ5QXMQ2NTdcGwrd+I4govvA0k8FxMliyra2mVZLEEjbCMQkDFD5RZjo0i7ALtGkNpN4oLSP7w/RR/FLRRH94foo/ilooIzaUW0PjdVvijuxELf5UvLU26MWuj7a/OpytcwDkFBDujFro+2vzo3Ri10fbX51NgHIKMA5BQIWy3x3x77HxoPnryN+dM7oxa6Ptr86nwDkFcwDkFBDujFro+2vzo3Ri10fbX51NgHIKMA5BQLvlCK477Hwc9fnUNgyhHmY99j4tfxLyD86ewDkFGAcgoId0YtdH21+dG6MWuj7a/OpsA5BRgHIKCHdGLXR9tfnStkt8eOXfY+NH4l1cX51YYByCu4ByCgg3Ri10fbX50boxa6Ptr86mwDkFGAcgoId0YtdH21+dLSW+PPoc7H5j/jXlT86fwDkFdwDkFBBujFro+2vzo3Ri10fbX51NgHIKMA5BQQ7oxa6Ptr86Wyjb4zC4EsfBz1+dP4ByCu4ByCgg3Ri1sfbX50boxa6Ptr86mwDkFGAcgoId0YtdH21+dG6MWtj7a/OpsA5BRgHIKCHdGLXR9tfnRujFrY+2vzqbAOQUYByCgh3Ri1sfbX50boxa6Ptr86mwDkFGAcgoFLNOrTuVZW3uPzSGu0y8lFOAUUH/2Q=="/>
          <p:cNvSpPr>
            <a:spLocks noChangeAspect="1" noChangeArrowheads="1"/>
          </p:cNvSpPr>
          <p:nvPr/>
        </p:nvSpPr>
        <p:spPr bwMode="auto">
          <a:xfrm>
            <a:off x="79375" y="-727075"/>
            <a:ext cx="1828800" cy="1504950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TextBox 11"/>
          <p:cNvSpPr txBox="1"/>
          <p:nvPr/>
        </p:nvSpPr>
        <p:spPr>
          <a:xfrm>
            <a:off x="914400" y="3715000"/>
            <a:ext cx="1981200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200" dirty="0" smtClean="0"/>
              <a:t>Recall what Central Travel Mgmt. does… </a:t>
            </a:r>
            <a:endParaRPr lang="en-US" sz="2200" dirty="0"/>
          </a:p>
        </p:txBody>
      </p:sp>
      <p:sp>
        <p:nvSpPr>
          <p:cNvPr id="14" name="Oval 13"/>
          <p:cNvSpPr/>
          <p:nvPr/>
        </p:nvSpPr>
        <p:spPr bwMode="auto">
          <a:xfrm>
            <a:off x="8915400" y="152400"/>
            <a:ext cx="990600" cy="990600"/>
          </a:xfrm>
          <a:prstGeom prst="ellips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8879775" y="480950"/>
            <a:ext cx="10668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Connexxus</a:t>
            </a:r>
            <a:endParaRPr lang="en-US" dirty="0"/>
          </a:p>
        </p:txBody>
      </p:sp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048000" y="1524000"/>
            <a:ext cx="6859092" cy="533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6" name="Oval 15"/>
          <p:cNvSpPr/>
          <p:nvPr/>
        </p:nvSpPr>
        <p:spPr bwMode="auto">
          <a:xfrm>
            <a:off x="2971800" y="4419600"/>
            <a:ext cx="3581400" cy="2362200"/>
          </a:xfrm>
          <a:prstGeom prst="ellipse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cxnSp>
        <p:nvCxnSpPr>
          <p:cNvPr id="18" name="Straight Arrow Connector 17"/>
          <p:cNvCxnSpPr/>
          <p:nvPr/>
        </p:nvCxnSpPr>
        <p:spPr bwMode="auto">
          <a:xfrm rot="16200000" flipH="1">
            <a:off x="2667000" y="4800600"/>
            <a:ext cx="381000" cy="381000"/>
          </a:xfrm>
          <a:prstGeom prst="straightConnector1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23" name="Rectangle 22"/>
          <p:cNvSpPr/>
          <p:nvPr/>
        </p:nvSpPr>
        <p:spPr bwMode="auto">
          <a:xfrm>
            <a:off x="3159825" y="1278574"/>
            <a:ext cx="6629399" cy="293759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rebuchet MS" pitchFamily="34" charset="0"/>
              </a:rPr>
              <a:t>Financial Services &amp; Controls</a:t>
            </a:r>
          </a:p>
        </p:txBody>
      </p:sp>
    </p:spTree>
    <p:custDataLst>
      <p:tags r:id="rId1"/>
    </p:custDataLst>
  </p:cSld>
  <p:clrMapOvr>
    <a:masterClrMapping/>
  </p:clrMapOvr>
  <p:transition xmlns:p14="http://schemas.microsoft.com/office/powerpoint/2010/main">
    <p:cut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Rectangle 2"/>
          <p:cNvSpPr>
            <a:spLocks noGrp="1" noChangeArrowheads="1"/>
          </p:cNvSpPr>
          <p:nvPr>
            <p:ph type="title"/>
          </p:nvPr>
        </p:nvSpPr>
        <p:spPr>
          <a:xfrm>
            <a:off x="762000" y="838200"/>
            <a:ext cx="8153400" cy="304800"/>
          </a:xfrm>
        </p:spPr>
        <p:txBody>
          <a:bodyPr/>
          <a:lstStyle/>
          <a:p>
            <a:pPr lvl="1"/>
            <a:r>
              <a:rPr lang="en-US" sz="2300" dirty="0" smtClean="0"/>
              <a:t>Case Study B:  Part 1 – Background Story</a:t>
            </a:r>
          </a:p>
        </p:txBody>
      </p:sp>
      <p:sp>
        <p:nvSpPr>
          <p:cNvPr id="93188" name="AutoShape 4" descr="data:image/jpg;base64,/9j/4AAQSkZJRgABAQAAAQABAAD/2wCEAAkGBhQSDhQQEA8QEBQUEBkQFA4QFhEQFBAQFBwWFRUQFRQYHycqFxkjGRUTHy8iIycsLCwsFR4xQTIqNSYrLSkBCQoKBQUFDQUFDSkYEhgpKSkpKSkpKSkpKSkpKSkpKSkpKSkpKSkpKSkpKSkpKSkpKSkpKSkpKSkpKSkpKSkpKf/AABEIAMwA9wMBIgACEQEDEQH/xAAbAAACAwEBAQAAAAAAAAAAAAAABAMFBgECB//EAEkQAAIBAQMEDQkIAQMDBQEAAAECAwAEERIFEyFTBhQVIzEzUVJzkZKT0iIyQVRxsbLR0wc0QmFiY3Kis0OBoSR0dRY1NsHCCP/EABQBAQAAAAAAAAAAAAAAAAAAAAD/xAAUEQEAAAAAAAAAAAAAAAAAAAAA/9oADAMBAAIRAxEAPwD7PLaXzhRERrkViWcp5xYXABTzf+a5nJtXF3j/AE67H94foo/ilpqgUzk2ri7x/p0ZybVxd4/06booFM5Nq4u8f6dGcm1cXeP9Om6KBTOTauLvH+nRnJtXF3j/AE6booFM5Nq4u8f6dGcm1cXeP9Om6KBTOTauLvH+nRnJtXF3j/TrL5O+0FpctS5KNjwtCpkefPBlzVyFXC4LyTnI9HovOnRV3YNl1kmWV4bVFKsK4pShLZpdOluTzT1Ggdzk2ri7x/p0ZybVxd4/06rZNnNhWBLQ1tgELsUSYtcjuvnKG4CR/wDR5KnynssslnEZtFqihEq4o84cOcGjzb+HhGj86BvOTauLvH+nRnJtXF3j/TqOfL0CWiOzPMizSrijhN+J106VHpHknqqHZRsijsNjltc2IpGAcK6WdmIVUH5liBQNZybVxd4/06M5Nq4u8f6dYXYr9sAtNshslpsEtia0xCazu7iRZkYMVbzVuDBWuOm8i6qu1f8A9ARLLI0eT55bLHMIXtiuo8psWErGRpvCORew0D0UH07OTauLvH+nRnJtXF3j/TrH7LPtjsNiiVlfbUsiJIlniNzZuRQ6u7Eb2CjAgHSbxo9Ij2WfbNZLEqLcbROwUtZYmF8IYBt8e64EXjRw/kKDaZybVxd4/wBOjOTauLvH+nTQNdoFM5Nq4u8f6dGcm1cXeP8ATpuigUzk2ri7x/p0ZybVxd4/06booFM5Nq4u8f6dGcm1cXeP9Om6KBTOTauLvH+nRnJtXF3j/TpuigWs1oYuyOiqQqterFwQxYelRd5v/NFcj+8P0UfxS0UBH94foo/ilpqlY/vD9FH8UtNUBRRRQFFFFAUUUUBRRRQfJtjv/wA5yh/2Q+Gx1P8AZMdGWf8AyU3/AOqNhViefZPlDKcattUxbWSZlZBLKogVgmIDEAYXvI/Llq+H2evFPa3sVuazJbWMk0LRJNhka/FJC5YYCcR4Qw6hQfNNkf8A8Lyb/wB2nvtNfTPtY2ObcyTMqm6WAbbhN9xDxXkge1cS+0jkrxsk+zGO05Ns+TYp2s8NnZXBwCV3KBlUkkgaS7k6NJPopj/0VO00882UM7JLYmsKnMIiQxu2JmCB/KY/meTkuoEfs0tj5QUZXnW5mgWxwryLHcbTLcDozk4YfxiWtXsgyLBarM0FrQPCbnZWZox5BxAllIIAIv4fRSOwfYtudYlsYmz6ozFHKCMgOS5U3E3+UW06OGvOz/ItoteTZrLZJEiklATHIWVc2SM4pKgnSt44PTQfKNg9lGU9kBtkCFLFk6IQ2cHEd7jVo7OgLabz5chvvI4Dw18/yd/7Ba//ACFl+C019m+znYRlbJ7xwSTZP2mHd5o4gxlkLKbjiMYvN+AcPAt1Ze0fYdlBBNYoJrIbJLaUnz0hkEqiISKgKheG6Q3gX3kDSNNAl9p2S4l2O5JtCwxrK8MKvMqqHdRZxcGYC9rsK3X8F1TfbrkyJLPk2ZIY0kkRs5KiqrS3JBdjYDyrrzw8tbn7QvsymteS7HYbJJENq4VxTlkxIkebB8lW0nQaj+077NrTlGz2KKzvZ1azKwcys6gkrGow4UN+lDw3eig+lrwV2uCu0BRRRQFFFFAUUUUBRRRQKx/eH6KP4paKI/vD9FH8UtFBE8xW0PdG771HpUxi7ypecwqXbjery9cHjoRv+ofoo/ilpLZRY89Y5IlMt7YQDCY8YuZTiukIV1F17KfOUMum+6gd22/q8vXB46NuN6vL1weOvncOxm1XPnLLGpkzUxWJohEjR2aeJogpbyTnGW4C8DH51wJGm2FZJls2ejm0qrJFBKSpaSzIt8eO4+egbNknhzd/poL7bjery9cHjo243q8vXB46ZxjlFUmzHJW2rC9mUm+Ro1xIQGjGcQmUEkaVALcuigstuN6vL1weOjbjery9cHjr53FsZtmcd7TDtgSSvJLEjxYZJpbJCiugZh5CTCdBfcRjVrvSHtj2xy1w2yB5TnUJU2h2dTdaYbKIBaUBN5Ehd1bRffGhu0mg223G9Xl64PHRtxvV5euDx0xjHKK7jHKKBbbbery9cHjo22/q8vXB46zuXtjQmyhFKIUZTZ5xLKSuic7W2uTeb9Gae64XDTzjfl//AEraTHZcVlJzUMEMqE2aQsYbLaonNzOAymWWIAk+jFoABoPpW3G9Xl64PHRtxvV5euDx1NEwwjgGgaL77vyvr3jHKKBbbjery9cHjo22/q8vXB46yez3Y5NaZFay6C9knsssiuEZL83PAwvIv32HBo9ExqqtOxm0GYytZsRlsV7qu12CWyV7TK6B2cFcBmj8pb8QQLwUH0Hbjery9cHjo243q8vXB46zmwTJMsAkzq5lGis6LAWVrpo4gs81ykhcTYRoOnNk+nTrMY5RQLbcb1eXrg8dG239Xl64PHXu1QJIhjkCurC5kPAw5DyivmE2wu07TjWODNynJ1viluaC9rRNm1gQnHdeVQjEOD0kUH0zbjery9cHjo243q8vXB46yWxzIU0dsxPFgRbRaZw+KMqUnWEIoAN+IYXBF1wwfmL9tjHKKBbbjery9cHjo22/q8vXB46YxjlFfPdkWxSeaXKEixK2cezmAERFnwizrI6uXGFQElBQ3Yr7+Sg3W3G9Xl64PHRtxvV5euDx1kth+RZ4bYzzxYFFmkhxhozGzm1TyjNqGJSMxyIVU+aLlvJWtrjHKKBfbjery9cHjo243q8vXB46ZxjlFZjZ3k2SeFBAhkdHMixnNtDI2BkzVoVmXyGDsMS6UNzeigvttt6vL1weOjbjery9cHjr59lLY5aZXtDtZseeezWlAXibMyJaFE0VzPdi2qkIJGgiMjhYg/RbNCkaLGgCqihFUcCqouAH+1AvZZS08l6Mm9x6GwG/TLzWNFSRH/qH6KP4paKCM2ZGtD40Rroo/OUNd5UvLU250Wpj7C/KvMf3h+ij+KWmqBfc6LUx9hflRudFqY+wvypiigrrZk+O+Peo+NH4F5G/KmdzotTH2F+Vebbwx9KPc1NUC+50Wpj7C/Kjc6LUx9hflTFFAq+TorjvMXBzF+VQ2DJ8eZj3qPi1/AvIPyp5+A+yocn8TH0a+4UBudFqY+wvyo3Oi1MfYX5UxRQL7nRamPsL8qVsmT48cu9R8aPwLq4vyqypSx+fN0o/xxUHvc6LUx9hflRudFqY+wvypiigX3Oi1MfYX5UtJk+PPoM1H5j/AIF5Y/yqxpWXj4/4P746D1udFqY+wvyo3Oi1MfYX5UxRQL7nRamPsL8qWyjk+MQvvUfBzF+VWNK5T4l/ZQLSmBbQlnMK45EaRd6GHCmENe911/lDRw03udFqY+wvypa15NdrXDOsiKsSupjKMzPnMN5DhgFuwj8J9NWNAvudFqY+wvyrm50Wpj7C/KmaKCpgssawu+11kIkluREjLNdI9yi+4dZAr3kzMzxCRYFXynQo6IGSSNmjdDdeLwysLwSDdoJFdzLvZpEhlEMjPKFlK5zAxkfysN4vu9tS5GsBhgWIlDhvF8augN5JvON3JY33lixJJJ9NBLudFqY+wvyo3Oi1MfYX5UxRQJWaBVncIqrvUfmgLfpl5KK9x/eH6KP4paKAj+8P0UfxS01Ve9mDWhyS4uiTzXkT8UvoUi+oMmzQzhs29ovRgrJI1rhdSQGF6SEG4ggg3XUFvRSu5y86XvZ/FRucvOl72fxUBbeGPpR7mpqqy2ZPW+PypeNA42fkb9Vcvhz+1s7Jnc0Zs3nbReIwQuI+Vo0kDTw6eQ0FpRSu5y86XvZ/FRucvOl72fxUDD8B9lQ5P4mPo19wrw+TluPlS8Gtn8VVrSwwwQmRrR5YVFWM2yZmbAXICR4j5qseD0UF7RSi5PUi/FN/vLOP+MVd3OXnS97P4qBqlLH583Sj/HFXdzl50vez+KkM1HGJ5JJJFRJLyxln0DNxcjaT/wA0FzRSFmsySIHU2gAi8B3tUTf7o5BH+4qXc5edL3s/ioGqVl4+P+D++Ojc5edL3s/ipaTJ655Bil8x/wDVn5Y/1UFnRVPHaIWtG18VqElzMA+3UVlQqGZZGuVgC68BPnCntzl50vez+KgapXKfEv7KNzl50vez+Klso5PUQucUvBrZ/FQWdFU9qtMEcqxPLMHbDoD2pgucYpHjcG5MTgquIi8i4U9ucvOl72fxUDVcpbc5edL3s/io3OXnS97P4qAyd5h6WX/I9NVTJHFFA8skkqqskhLZ2c6BI40ANeSdAuGkk1PYFimjzkbzFbyumS0oyspKsrKzAqQQRcRQWVFK7nLzpe9n8VG5y86XvZ/FQEf3h+ij+KWio7LAFnkALHe4/OZ39MvOJurtB6Xj5LuHNJdfy3y0lkDJskbTySiNDNKJc1E7zKpwqrNnHVSSSOC64AC7009H94foo/ilpqgKKKKBW28MfSj3NVbZ9jWC37aWWQqyTY43IN8kpgII8m/CFhu0nRhQDQKsrbwx9KPc1NUBRRRQeX4D7KoMsZJe0WKJI0jZwgKSSSSwmBzGUEyNGpJYYjovF950ir9+A+yocn8TH0a+4UEsSkKATiIABY6MRHpr3RRQFUeVcmG0Q2iJSt+fjkAYsqsYhZ5QjFdIDYMJI0gG/TV5Slj8+bpR/jioIcgWB4bOI5CCcbsFVmdY0d2dIVZgCyopCgkDzeADQLGiigKVl4+P+D++OmqVl4+P+D++OghsuTmFpltEhUllWKIC/e4VGI33/iaRmJu9Cx8lWFFFAUrlPiX9lNUrlPiX9lBTZY2OSS22O0KUAXM3MWdWjzUrSSDNgXTB1KqMZGAriGmtHRRQFFFFBVS2ITWWWIqHxPLcpZovLEjlTnFBKEMAcQBIuvr1seyU0EJV2xO8rzOcTP5TknDiYAtcMIvuF919w4Azk7zD0sv+R6aoCiiigVj+8P0UfxS0UR/eH6KP4paKCJoS1oe6R03qPQojN/lS85TUu1G18vVD4KE49+ij+KWsFbYGay3CK1OBugIQ8dqZ1tkkoexS+WMQOAvhkOhb+EGg3u1G18vVD4KNqNr5eqHwUyvBprtBWWyytfHv8vGj0Q8jfopnaja+Xqh8FFt4Y+lHuaqdyBb7ViFpwtYogWUWrDiUzYhEyi4NhePRGcRJ5RQXG1G18vVD4KNqNr5eqHwUpsVJ3PswYOrCzRqyyK6OHVQrBlYAg3g8NWtAo9ka47/LwckPgqGwWVszHv8ALxa+iHkH6KffgPsrPZe+4QECYkTWV7oRM5uWSJnLLECSuAOSCLtHsoLnaja+Xqh8FG1G18vVD4KpMlopynM6QyQ4Y2jYmKZBanLIzTNIVwsFuCppJ8qT8N1+loFdqNr5eqHwUrZLK2Obf5eNHoh1cX6KtKrZLsFpxY7sRvzecx3ZqPzc35V/8dNAxtRtfL1Q+Cjaja+Xqh8FZGzw4hkwiGXPpHCJC0FoSQRqjKwM7ACNVbGWQ6X8kaL1v3FArtRtfL1Q+ClpLK2fTf5fMf0Q8sf6Ks6Vl4+P+D++OgNqNr5eqHwUbUbXy9UPgrP2mKZrZa0s+cUvHZ/LlNpjjuUy55YZSrBWwsnmaAWvuvvqz2IxOuTrMsqlHWzorIS5KkKBccQBvuuvvHDfw8NA7tRtfL1Q+Clso2Vsy+/y8HJD4Ks6VynxL+ygNqNr5eqHwUbUbXy9UPgqpyyP+vg4+42edGZFndFxBMN4UFQ2hrr9Po9NR7BYM3Z3jCAIkgRJhDJZWtCiOO+V45NOLFiUn04KC62o2vl6ofBRtRtfL1Q+CmqKCssFlbAd/l42T0Q6x/0UztRtfL1Q+CoobsxJixXY5r8GPFdjkvw4PKvu4MOnk01jbAJg1gYxO+CyWSNY54J2Ky42jtjlzdmZEQI2JxewW4X3m8NvtRtfL1Q+Cjaja+Xqh8FNUUCNliKzyXuz73HpbALtMvNArte4/vD9FH8UtFAR/eH6KP4paapBse2HwYOKjvxYudLyVLv37X96Bqild+/a/vRv37X96AtvDH0o9zU1VbbM7fHxXGjn8jUxv37X96Bqild+/a/vRv37X96Bh+A+yocn8TH0a+4V4fO3HiuD9dQ2DO5mPiuLXn8goLGild+/a/vRv37X96BqlLH583Sj/HFXd+/a/vS1kzuObiuNHP1cVBZ0Urvv7X96N+/a/vQNUrLx8f8AB/fHRv37X96XlzufTivMfn8sdBZUUrv37X96N+/a/vQNUrlPiX9lG/ftf3pfKOdzL8VwfroLKild+/a/vRv37X96Bqild+/a/vRv37X96Ayf5h6WX/I9NVWZPzuA8VxsnP1j0zvv7X96Bqild+/a/vRv37X96Aj+8P0UfxS0VHZcWfkx4eKjuw38svLXaD2nHv0UfxS1lpbbJJY2C2yQzm3TWWF4jEuJzI6pjUKb1jjUuRw4YzWpj+8P0UfxS1LFZEXzY0XTi8lVGm66/R6btFB7QXAC8m4XXm68/mbq9UUUCtt4Y+lHuas3l/K8iS2tEtAF0FkMaEoubaaaSJ/KuJQMAgLkHBeGuN1x0lt4Y+lHuapGsaEsTGhLLhYlVJZToKk+kXAaPyoK3Ypa2ksitIzMwkljJYqxGblkQJjGh8IULi/Fhv8ATVxXmOMKoVQFAFwVQAABwAAcAr1QeX4D7KosrWxorHZ3WbNb/ZUYnB5cbyRI8flcF6s3Bp0VevwH2UrZbOrwRh0Vxm1NzAML8N19x9poKLI1un3RkhlZ2GCaRhigeNFEqLZcAQ4o74i4IcC9ozdfcTWpqOOBVLFVVSxxMVABZuC83cJqSgKqLbaESK0vLM0CBwWlQgMowQ6F0HSeAAC8k6NN1W9JWeIM0ysoYGUXqwBB3uLhBoMfZMrziWIPaWLA2YLBihfOx2iedJBIUG+OkKLeVNwaFjwE372oEsUYKlY4wUvCkKowBvOC6NF/puqegKVl4+P+D++OmqVl4+P+D++OgzNuykwktpgtrYYrNIWLtC4jtS3FViUjQEW9WvvF7qNLK12oyfNjhje8NijVsQuN5IGnRQbBHexzUd7C5jhW9hw3E3adIHVU0cYUBVAUDQFAAAHIAKD1SuU+Jf2U1SuU+Jf2UFRlu2XW2COO0sj3h5IS0YjFm8oM7qwvLMblW433reNCvXvYjazJHK4naeIzbw8jI7mLAl7EqB5LOJGW/ThYcAIAuJLIjMGaNGYcDMqkj06CeCuwWVEvCIiXm8hFC3nlN1BLRRRQVjzKllleSUwopmLTAgGNQ8l7gkG672Vm0yhIIrLIbW+I2tUzbSQs+1pZykayRBd8coVQ6QU0t5RU4tZYkBjYMAQZZQQdIIzj6CK9pk+JSpWKMFb8JCqCuLhwm7Rf+VAxRRRQKx/eH6KP4paKI/vD9FH8UtFBE0rC0PhjL71HpvUXeVLy1Ltl9Se0leWYCWQsbgIUJOkXC+a81hJbfM1ikksUkkkJnzoAtDPPCiiERxMzksodhJIy33gMF0XtcG92xJqD2ko2xJqD2kpkV2grbZaHvj3k8aPxJyNTG2X1J7SUW3hj6Ue5qymW7Sj2u0Rx202ZkszJK0k8qrnHERQpFjGBUQEl0w8Zwk47g1e2H1J7SUbYk1B7SUnsVtOOyI1x8+RQxklnEgV3USrJISzIwAYXngYXXi41bUCj2h7jvJ4OclQ2C0PmY95PFr+JOQU+/AfZWW2U2pFsESGVoZJFCQyiWSzrHKU46RlIBVBe2Fr7yAACSKDQ7Yk1J7SUbYk1B7SVnNjmUXa3zLI2cLGYkB5f+njilVYFaInCokiZXVgAThY+VebtbQK7Yk1B7SUtZLQ+ObeTxo/Emriqzqkynao44LU85cRhxizbPG58iEBVZSCCSQOEDTpIF9BY7ZfUntJRtiTUHtJWXyVAZGsaraJZGVTPLLFaJ5IhCjMI7OSGwynGwTEwJZYHv03VsqBXbEmoPaSl5LQ+fTeT5j/iTljqypWXj4/4P746A2y+pPaSjbEmpPaSsTlnKKma0Zi0sgWSOKVJJ5rjJn487IVxXwQKt8ZZbgc4dFygnVbFJmawws5ctg0s5LFriQGDHS6kAFWOkrcTpJoHNsSag9pKXyjaHzL7yeDnJVlSuU+Jf2UBth9Se0lG2H1J7SVQ7IrSu3YIY7QYJyMeJpXWPNnGqpmS2GV3fRdcSApN4IW/mwSWRklxPnIwyKkmee1q8gRc80czgYlLXcGgHFwG8AL/AGxJqD2ko2xJqD2kpqigrMn2h8B3k8bJ+JNY9M7ZfUntJS+NBZpDK5RMcuNwzR4Vzj3tjUgr7QRdWIsVukvjBnlJEsYsuGWZ0nvtjraMBJ3+MQZsXvfcl5Fw00G/2xJqD2ko2xJqD2kpqigRssjGeTEmDeo9F4N+mXkrte4/vD9FH8UtFAR/eH6KP4paapB7SFtD3hzfFH5qSP8Ail9Kg1LuivNl7qfw0DVFK7orzZe6n8NG6K82Xup/DQFt4Y+lHuamqrLZlBb4/Jl40Hip+Rv00zuivNl7qfw0DVFK7orzZe6n8NG6K82Xup/DQMPwH2VDk/iY+jX3CvD5RW4+TLwaqfw1DYMoLmY/Jl4tf9KfkH6aCxopXdFebL3U/ho3RXmy91P4aBqlLH583Sj/ABxV3dFebL3U/hpWyZQXHL5MvGj/AEp9XF+mgtKKV3RXmy91P4aN0V5svdT+GgapWXj4/wCD++OjdFebL3U/hpaTKC59Dhl8x/8ASn5Y/wBNBZ0UruivNl7qfw0borzZe6n8NA1SuU+Jf2UborzZe6n8NLZRygphcYZeDVT+Ggs6KV3RXmy91P4aN0V5svdT+GgaopXdFebL3U/ho3RXmy91P4aAyf5h6WX/ACPTVVtitoVSCso3yQ8VNwM7EHzeQimN0V5svdT+GgaopXdFebL3U/ho3RXmy91P4aAj+8P0UfxS0VHZZw08hAYb3H5yunpl5wF9doPace/RR++Ws2mVLQglRpsTRZQs0V80ceNrPO8KMRmiFAYu5U3EgC4i/SNIovncHSM0guPp0y0uuxuyiPNCyWfN487m82mHOAXB7rvOAAAPoAHJQWIrtFFArbeGPpR7mpqlbbwx9KPc1NUBRRRQeX4D7KhyfxMfRr7hUz8B9lQ5P4mPo19woGKKKKApSx+fN0o/xxU3Slj8+bpR/jioG6KKKApWXj4/4P746apWXj4/4P746BqiiigKVynxL+ymqVynxL+ygaoqqyjbLQryCOHEqwl0IXEWkANy3Y1v03DDovvvxClLLb7aSMdniUZ3Cbr783jhGIeVzHmOnV8A4CGgorPPly2AkDJZIBcBs/HpCC8NddwPwL+fDcNNRTZatocFbBemZDmMkFhKTpjx4gDcLuBeXhoNNRWbbLNtJI2jm1uUh8SzkG/SMAZMRuI9IAuJvPBXVy5bMRG5puvOEmVV0KwAv0HhGn/jTw0GjorO2fLdsJIbJ5QXMQ2NTdcGwrd+I4govvA0k8FxMliyra2mVZLEEjbCMQkDFD5RZjo0i7ALtGkNpN4oLSP7w/RR/FLRRH94foo/ilooIzaUW0PjdVvijuxELf5UvLU26MWuj7a/OpytcwDkFBDujFro+2vzo3Ri10fbX51NgHIKMA5BQIWy3x3x77HxoPnryN+dM7oxa6Ptr86nwDkFcwDkFBDujFro+2vzo3Ri10fbX51NgHIKMA5BQLvlCK477Hwc9fnUNgyhHmY99j4tfxLyD86ewDkFGAcgoId0YtdH21+dG6MWuj7a/OpsA5BRgHIKCHdGLXR9tfnStkt8eOXfY+NH4l1cX51YYByCu4ByCgg3Ri10fbX50boxa6Ptr86mwDkFGAcgoId0YtdH21+dLSW+PPoc7H5j/jXlT86fwDkFdwDkFBBujFro+2vzo3Ri10fbX51NgHIKMA5BQQ7oxa6Ptr86Wyjb4zC4EsfBz1+dP4ByCu4ByCgg3Ri1sfbX50boxa6Ptr86mwDkFGAcgoId0YtdH21+dG6MWtj7a/OpsA5BRgHIKCHdGLXR9tfnRujFrY+2vzqbAOQUYByCgh3Ri1sfbX50boxa6Ptr86mwDkFGAcgoFLNOrTuVZW3uPzSGu0y8lFOAUUH/2Q=="/>
          <p:cNvSpPr>
            <a:spLocks noChangeAspect="1" noChangeArrowheads="1"/>
          </p:cNvSpPr>
          <p:nvPr/>
        </p:nvSpPr>
        <p:spPr bwMode="auto">
          <a:xfrm>
            <a:off x="79375" y="-727075"/>
            <a:ext cx="1828800" cy="1504950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" name="Rectangle 7"/>
          <p:cNvSpPr>
            <a:spLocks noChangeArrowheads="1"/>
          </p:cNvSpPr>
          <p:nvPr/>
        </p:nvSpPr>
        <p:spPr bwMode="gray">
          <a:xfrm>
            <a:off x="152400" y="1219200"/>
            <a:ext cx="9372600" cy="5562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9" tIns="36571" rIns="36571" bIns="36571"/>
          <a:lstStyle/>
          <a:p>
            <a:pPr marL="458788" lvl="1" indent="-457200" algn="just" defTabSz="1019175" eaLnBrk="0" hangingPunct="0">
              <a:buClr>
                <a:schemeClr val="folHlink"/>
              </a:buClr>
              <a:buSzPct val="125000"/>
              <a:buFont typeface="Wingdings" pitchFamily="2" charset="2"/>
              <a:buChar char="§"/>
            </a:pPr>
            <a:endParaRPr lang="en-US" sz="2400" b="1" dirty="0" smtClean="0">
              <a:solidFill>
                <a:schemeClr val="bg2"/>
              </a:solidFill>
            </a:endParaRPr>
          </a:p>
          <a:p>
            <a:pPr marL="1373188" lvl="3" indent="-457200" algn="just" defTabSz="1019175" eaLnBrk="0" hangingPunct="0">
              <a:buClr>
                <a:schemeClr val="folHlink"/>
              </a:buClr>
              <a:buSzPct val="125000"/>
              <a:buFont typeface="Wingdings" pitchFamily="2" charset="2"/>
              <a:buChar char="§"/>
            </a:pPr>
            <a:r>
              <a:rPr lang="en-US" sz="2300" b="1" dirty="0" smtClean="0">
                <a:solidFill>
                  <a:schemeClr val="accent1"/>
                </a:solidFill>
                <a:sym typeface="Wingdings" pitchFamily="2" charset="2"/>
              </a:rPr>
              <a:t>UC spends approximately $200 million each year on travel and travel‐related expenses</a:t>
            </a:r>
          </a:p>
          <a:p>
            <a:pPr marL="1373188" lvl="3" indent="-457200" algn="just" defTabSz="1019175" eaLnBrk="0" hangingPunct="0">
              <a:buClr>
                <a:schemeClr val="folHlink"/>
              </a:buClr>
              <a:buSzPct val="125000"/>
              <a:buFont typeface="Wingdings" pitchFamily="2" charset="2"/>
              <a:buChar char="§"/>
            </a:pPr>
            <a:endParaRPr lang="en-US" sz="2300" b="1" dirty="0" smtClean="0">
              <a:solidFill>
                <a:schemeClr val="accent1"/>
              </a:solidFill>
              <a:sym typeface="Wingdings" pitchFamily="2" charset="2"/>
            </a:endParaRPr>
          </a:p>
          <a:p>
            <a:pPr marL="1373188" lvl="3" indent="-457200" algn="just" defTabSz="1019175" eaLnBrk="0" hangingPunct="0">
              <a:buClr>
                <a:schemeClr val="folHlink"/>
              </a:buClr>
              <a:buSzPct val="125000"/>
              <a:buFont typeface="Wingdings" pitchFamily="2" charset="2"/>
              <a:buChar char="§"/>
            </a:pPr>
            <a:r>
              <a:rPr lang="en-US" sz="2300" b="1" dirty="0" smtClean="0">
                <a:solidFill>
                  <a:schemeClr val="accent1"/>
                </a:solidFill>
                <a:sym typeface="Wingdings" pitchFamily="2" charset="2"/>
              </a:rPr>
              <a:t>Historically, there was little effort to organize a managed travel program to leverage the University’s volume, but in 2006 at the Regents’ request, UCOP initiated a study of travel spend, and in 2007 Connexxus was born</a:t>
            </a:r>
          </a:p>
          <a:p>
            <a:pPr marL="1373188" lvl="3" indent="-457200" algn="just" defTabSz="1019175" eaLnBrk="0" hangingPunct="0">
              <a:buClr>
                <a:schemeClr val="folHlink"/>
              </a:buClr>
              <a:buSzPct val="125000"/>
              <a:buFont typeface="Wingdings" pitchFamily="2" charset="2"/>
              <a:buChar char="§"/>
            </a:pPr>
            <a:endParaRPr lang="en-US" sz="2300" b="1" dirty="0" smtClean="0">
              <a:solidFill>
                <a:schemeClr val="accent1"/>
              </a:solidFill>
              <a:sym typeface="Wingdings" pitchFamily="2" charset="2"/>
            </a:endParaRPr>
          </a:p>
          <a:p>
            <a:pPr marL="1373188" lvl="3" indent="-457200" algn="just" defTabSz="1019175" eaLnBrk="0" hangingPunct="0">
              <a:buClr>
                <a:schemeClr val="folHlink"/>
              </a:buClr>
              <a:buSzPct val="125000"/>
              <a:buFont typeface="Wingdings" pitchFamily="2" charset="2"/>
              <a:buChar char="§"/>
            </a:pPr>
            <a:r>
              <a:rPr lang="en-US" sz="2300" b="1" dirty="0" smtClean="0">
                <a:solidFill>
                  <a:schemeClr val="accent1"/>
                </a:solidFill>
                <a:sym typeface="Wingdings" pitchFamily="2" charset="2"/>
              </a:rPr>
              <a:t>Connexxus has now achieved ~30% utilization across the UC system… but the goal is 80% systemwide</a:t>
            </a:r>
          </a:p>
          <a:p>
            <a:pPr marL="1373188" lvl="3" indent="-457200" algn="just" defTabSz="1019175" eaLnBrk="0" hangingPunct="0">
              <a:buClr>
                <a:schemeClr val="folHlink"/>
              </a:buClr>
              <a:buSzPct val="125000"/>
              <a:buFont typeface="Wingdings" pitchFamily="2" charset="2"/>
              <a:buChar char="§"/>
            </a:pPr>
            <a:endParaRPr lang="en-US" sz="2300" b="1" dirty="0" smtClean="0">
              <a:solidFill>
                <a:schemeClr val="accent1"/>
              </a:solidFill>
              <a:sym typeface="Wingdings" pitchFamily="2" charset="2"/>
            </a:endParaRPr>
          </a:p>
          <a:p>
            <a:pPr marL="1373188" lvl="3" indent="-457200" algn="just" defTabSz="1019175" eaLnBrk="0" hangingPunct="0">
              <a:buClr>
                <a:schemeClr val="folHlink"/>
              </a:buClr>
              <a:buSzPct val="125000"/>
              <a:buFont typeface="Wingdings" pitchFamily="2" charset="2"/>
              <a:buChar char="§"/>
            </a:pPr>
            <a:r>
              <a:rPr lang="en-US" sz="2300" b="1" dirty="0" smtClean="0">
                <a:solidFill>
                  <a:schemeClr val="accent1"/>
                </a:solidFill>
                <a:sym typeface="Wingdings" pitchFamily="2" charset="2"/>
              </a:rPr>
              <a:t>Resistance to change has been the primary hurdle</a:t>
            </a:r>
          </a:p>
          <a:p>
            <a:pPr marL="1373188" lvl="3" indent="-457200" algn="just" defTabSz="1019175" eaLnBrk="0" hangingPunct="0">
              <a:buClr>
                <a:schemeClr val="folHlink"/>
              </a:buClr>
              <a:buSzPct val="125000"/>
              <a:buFont typeface="Wingdings" pitchFamily="2" charset="2"/>
              <a:buChar char="§"/>
            </a:pPr>
            <a:endParaRPr lang="en-US" sz="2300" b="1" dirty="0" smtClean="0">
              <a:solidFill>
                <a:schemeClr val="accent1"/>
              </a:solidFill>
              <a:sym typeface="Wingdings" pitchFamily="2" charset="2"/>
            </a:endParaRPr>
          </a:p>
          <a:p>
            <a:pPr marL="1373188" lvl="3" indent="-457200" algn="just" defTabSz="1019175" eaLnBrk="0" hangingPunct="0">
              <a:buClr>
                <a:schemeClr val="folHlink"/>
              </a:buClr>
              <a:buSzPct val="125000"/>
              <a:buFont typeface="Wingdings" pitchFamily="2" charset="2"/>
              <a:buChar char="§"/>
            </a:pPr>
            <a:r>
              <a:rPr lang="en-US" sz="2300" b="1" dirty="0" smtClean="0">
                <a:solidFill>
                  <a:schemeClr val="accent1"/>
                </a:solidFill>
                <a:sym typeface="Wingdings" pitchFamily="2" charset="2"/>
              </a:rPr>
              <a:t>People don’t realize they can use it for personal travel, too!</a:t>
            </a:r>
          </a:p>
        </p:txBody>
      </p:sp>
      <p:sp>
        <p:nvSpPr>
          <p:cNvPr id="7" name="Oval 6"/>
          <p:cNvSpPr/>
          <p:nvPr/>
        </p:nvSpPr>
        <p:spPr bwMode="auto">
          <a:xfrm>
            <a:off x="8915400" y="152400"/>
            <a:ext cx="990600" cy="990600"/>
          </a:xfrm>
          <a:prstGeom prst="ellips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8879775" y="480950"/>
            <a:ext cx="10668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Connexxus</a:t>
            </a:r>
            <a:endParaRPr lang="en-US" dirty="0"/>
          </a:p>
        </p:txBody>
      </p:sp>
    </p:spTree>
    <p:custDataLst>
      <p:tags r:id="rId1"/>
    </p:custDataLst>
  </p:cSld>
  <p:clrMapOvr>
    <a:masterClrMapping/>
  </p:clrMapOvr>
  <p:transition xmlns:p14="http://schemas.microsoft.com/office/powerpoint/2010/main">
    <p:cut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2"/>
          <p:cNvSpPr txBox="1">
            <a:spLocks noChangeArrowheads="1"/>
          </p:cNvSpPr>
          <p:nvPr/>
        </p:nvSpPr>
        <p:spPr bwMode="auto">
          <a:xfrm>
            <a:off x="762000" y="838200"/>
            <a:ext cx="4343400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marL="0" lvl="1" defTabSz="1019175" eaLnBrk="0" hangingPunct="0">
              <a:lnSpc>
                <a:spcPts val="2788"/>
              </a:lnSpc>
            </a:pPr>
            <a:r>
              <a:rPr lang="en-US" sz="2300" b="1" kern="0" dirty="0" smtClean="0">
                <a:ea typeface="LF_Kai" pitchFamily="2" charset="-122"/>
              </a:rPr>
              <a:t>General announcements…</a:t>
            </a:r>
            <a:endParaRPr kumimoji="0" lang="en-US" sz="2300" b="1" i="0" u="none" strike="noStrike" kern="0" cap="none" spc="0" normalizeH="0" baseline="0" noProof="0" dirty="0" smtClean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Trebuchet MS" pitchFamily="34" charset="0"/>
              <a:ea typeface="LF_Kai" pitchFamily="2" charset="-122"/>
              <a:cs typeface="LF_Kai"/>
            </a:endParaRPr>
          </a:p>
        </p:txBody>
      </p:sp>
      <p:sp>
        <p:nvSpPr>
          <p:cNvPr id="31" name="Rectangle 30"/>
          <p:cNvSpPr>
            <a:spLocks noChangeArrowheads="1"/>
          </p:cNvSpPr>
          <p:nvPr/>
        </p:nvSpPr>
        <p:spPr bwMode="gray">
          <a:xfrm>
            <a:off x="1219200" y="2438400"/>
            <a:ext cx="7315200" cy="3352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9" tIns="36571" rIns="36571" bIns="36571"/>
          <a:lstStyle/>
          <a:p>
            <a:pPr marL="1373188" lvl="3" indent="-457200" algn="just" defTabSz="1019175" eaLnBrk="0" hangingPunct="0">
              <a:buClr>
                <a:schemeClr val="folHlink"/>
              </a:buClr>
              <a:buSzPct val="125000"/>
            </a:pPr>
            <a:r>
              <a:rPr lang="en-US" sz="3000" b="1" dirty="0" smtClean="0">
                <a:solidFill>
                  <a:schemeClr val="accent1"/>
                </a:solidFill>
                <a:sym typeface="Wingdings" pitchFamily="2" charset="2"/>
              </a:rPr>
              <a:t>Brief announcement from our UCOP Local HR Business Partner, </a:t>
            </a:r>
            <a:r>
              <a:rPr lang="en-US" sz="3000" b="1" dirty="0" smtClean="0">
                <a:solidFill>
                  <a:schemeClr val="bg2"/>
                </a:solidFill>
                <a:sym typeface="Wingdings" pitchFamily="2" charset="2"/>
              </a:rPr>
              <a:t>Isabel Chen</a:t>
            </a:r>
            <a:r>
              <a:rPr lang="en-US" sz="3000" b="1" dirty="0" smtClean="0">
                <a:solidFill>
                  <a:schemeClr val="accent1"/>
                </a:solidFill>
                <a:sym typeface="Wingdings" pitchFamily="2" charset="2"/>
              </a:rPr>
              <a:t>…</a:t>
            </a:r>
          </a:p>
        </p:txBody>
      </p:sp>
    </p:spTree>
    <p:custDataLst>
      <p:tags r:id="rId1"/>
    </p:custDataLst>
  </p:cSld>
  <p:clrMapOvr>
    <a:masterClrMapping/>
  </p:clrMapOvr>
  <p:transition xmlns:p14="http://schemas.microsoft.com/office/powerpoint/2010/main">
    <p:cut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Rectangle 2"/>
          <p:cNvSpPr>
            <a:spLocks noGrp="1" noChangeArrowheads="1"/>
          </p:cNvSpPr>
          <p:nvPr>
            <p:ph type="title"/>
          </p:nvPr>
        </p:nvSpPr>
        <p:spPr>
          <a:xfrm>
            <a:off x="762000" y="838200"/>
            <a:ext cx="8153400" cy="304800"/>
          </a:xfrm>
        </p:spPr>
        <p:txBody>
          <a:bodyPr/>
          <a:lstStyle/>
          <a:p>
            <a:pPr lvl="1"/>
            <a:r>
              <a:rPr lang="en-US" sz="2300" dirty="0" smtClean="0"/>
              <a:t>Case Study B:  Part 2 – Two Perspectives</a:t>
            </a:r>
          </a:p>
        </p:txBody>
      </p:sp>
      <p:sp>
        <p:nvSpPr>
          <p:cNvPr id="93188" name="AutoShape 4" descr="data:image/jpg;base64,/9j/4AAQSkZJRgABAQAAAQABAAD/2wCEAAkGBhQSDhQQEA8QEBQUEBkQFA4QFhEQFBAQFBwWFRUQFRQYHycqFxkjGRUTHy8iIycsLCwsFR4xQTIqNSYrLSkBCQoKBQUFDQUFDSkYEhgpKSkpKSkpKSkpKSkpKSkpKSkpKSkpKSkpKSkpKSkpKSkpKSkpKSkpKSkpKSkpKSkpKf/AABEIAMwA9wMBIgACEQEDEQH/xAAbAAACAwEBAQAAAAAAAAAAAAAABAMFBgECB//EAEkQAAIBAQMEDQkIAQMDBQEAAAECAwAEERIFEyFTBhQVIzEzUVJzkZKT0iIyQVRxsbLR0wc0QmFiY3Kis0OBoSR0dRY1NsHCCP/EABQBAQAAAAAAAAAAAAAAAAAAAAD/xAAUEQEAAAAAAAAAAAAAAAAAAAAA/9oADAMBAAIRAxEAPwD7PLaXzhRERrkViWcp5xYXABTzf+a5nJtXF3j/AE67H94foo/ilpqgUzk2ri7x/p0ZybVxd4/06booFM5Nq4u8f6dGcm1cXeP9Om6KBTOTauLvH+nRnJtXF3j/AE6booFM5Nq4u8f6dGcm1cXeP9Om6KBTOTauLvH+nRnJtXF3j/TrL5O+0FpctS5KNjwtCpkefPBlzVyFXC4LyTnI9HovOnRV3YNl1kmWV4bVFKsK4pShLZpdOluTzT1Ggdzk2ri7x/p0ZybVxd4/06rZNnNhWBLQ1tgELsUSYtcjuvnKG4CR/wDR5KnynssslnEZtFqihEq4o84cOcGjzb+HhGj86BvOTauLvH+nRnJtXF3j/TqOfL0CWiOzPMizSrijhN+J106VHpHknqqHZRsijsNjltc2IpGAcK6WdmIVUH5liBQNZybVxd4/06M5Nq4u8f6dYXYr9sAtNshslpsEtia0xCazu7iRZkYMVbzVuDBWuOm8i6qu1f8A9ARLLI0eT55bLHMIXtiuo8psWErGRpvCORew0D0UH07OTauLvH+nRnJtXF3j/TrH7LPtjsNiiVlfbUsiJIlniNzZuRQ6u7Eb2CjAgHSbxo9Ij2WfbNZLEqLcbROwUtZYmF8IYBt8e64EXjRw/kKDaZybVxd4/wBOjOTauLvH+nTQNdoFM5Nq4u8f6dGcm1cXeP8ATpuigUzk2ri7x/p0ZybVxd4/06booFM5Nq4u8f6dGcm1cXeP9Om6KBTOTauLvH+nRnJtXF3j/TpuigWs1oYuyOiqQqterFwQxYelRd5v/NFcj+8P0UfxS0UBH94foo/ilpqlY/vD9FH8UtNUBRRRQFFFFAUUUUBRRRQfJtjv/wA5yh/2Q+Gx1P8AZMdGWf8AyU3/AOqNhViefZPlDKcattUxbWSZlZBLKogVgmIDEAYXvI/Llq+H2evFPa3sVuazJbWMk0LRJNhka/FJC5YYCcR4Qw6hQfNNkf8A8Lyb/wB2nvtNfTPtY2ObcyTMqm6WAbbhN9xDxXkge1cS+0jkrxsk+zGO05Ns+TYp2s8NnZXBwCV3KBlUkkgaS7k6NJPopj/0VO00882UM7JLYmsKnMIiQxu2JmCB/KY/meTkuoEfs0tj5QUZXnW5mgWxwryLHcbTLcDozk4YfxiWtXsgyLBarM0FrQPCbnZWZox5BxAllIIAIv4fRSOwfYtudYlsYmz6ozFHKCMgOS5U3E3+UW06OGvOz/ItoteTZrLZJEiklATHIWVc2SM4pKgnSt44PTQfKNg9lGU9kBtkCFLFk6IQ2cHEd7jVo7OgLabz5chvvI4Dw18/yd/7Ba//ACFl+C019m+znYRlbJ7xwSTZP2mHd5o4gxlkLKbjiMYvN+AcPAt1Ze0fYdlBBNYoJrIbJLaUnz0hkEqiISKgKheG6Q3gX3kDSNNAl9p2S4l2O5JtCwxrK8MKvMqqHdRZxcGYC9rsK3X8F1TfbrkyJLPk2ZIY0kkRs5KiqrS3JBdjYDyrrzw8tbn7QvsymteS7HYbJJENq4VxTlkxIkebB8lW0nQaj+077NrTlGz2KKzvZ1azKwcys6gkrGow4UN+lDw3eig+lrwV2uCu0BRRRQFFFFAUUUUBRRRQKx/eH6KP4paKI/vD9FH8UtFBE8xW0PdG771HpUxi7ypecwqXbjery9cHjoRv+ofoo/ilpLZRY89Y5IlMt7YQDCY8YuZTiukIV1F17KfOUMum+6gd22/q8vXB46NuN6vL1weOvncOxm1XPnLLGpkzUxWJohEjR2aeJogpbyTnGW4C8DH51wJGm2FZJls2ejm0qrJFBKSpaSzIt8eO4+egbNknhzd/poL7bjery9cHjo243q8vXB46ZxjlFUmzHJW2rC9mUm+Ro1xIQGjGcQmUEkaVALcuigstuN6vL1weOjbjery9cHjr53FsZtmcd7TDtgSSvJLEjxYZJpbJCiugZh5CTCdBfcRjVrvSHtj2xy1w2yB5TnUJU2h2dTdaYbKIBaUBN5Ehd1bRffGhu0mg223G9Xl64PHRtxvV5euDx0xjHKK7jHKKBbbbery9cHjo22/q8vXB46zuXtjQmyhFKIUZTZ5xLKSuic7W2uTeb9Gae64XDTzjfl//AEraTHZcVlJzUMEMqE2aQsYbLaonNzOAymWWIAk+jFoABoPpW3G9Xl64PHRtxvV5euDx1NEwwjgGgaL77vyvr3jHKKBbbjery9cHjo22/q8vXB46yez3Y5NaZFay6C9knsssiuEZL83PAwvIv32HBo9ExqqtOxm0GYytZsRlsV7qu12CWyV7TK6B2cFcBmj8pb8QQLwUH0Hbjery9cHjo243q8vXB46zmwTJMsAkzq5lGis6LAWVrpo4gs81ykhcTYRoOnNk+nTrMY5RQLbcb1eXrg8dG239Xl64PHXu1QJIhjkCurC5kPAw5DyivmE2wu07TjWODNynJ1viluaC9rRNm1gQnHdeVQjEOD0kUH0zbjery9cHjo243q8vXB46yWxzIU0dsxPFgRbRaZw+KMqUnWEIoAN+IYXBF1wwfmL9tjHKKBbbjery9cHjo22/q8vXB46YxjlFfPdkWxSeaXKEixK2cezmAERFnwizrI6uXGFQElBQ3Yr7+Sg3W3G9Xl64PHRtxvV5euDx1kth+RZ4bYzzxYFFmkhxhozGzm1TyjNqGJSMxyIVU+aLlvJWtrjHKKBfbjery9cHjo243q8vXB46ZxjlFZjZ3k2SeFBAhkdHMixnNtDI2BkzVoVmXyGDsMS6UNzeigvttt6vL1weOjbjery9cHjr59lLY5aZXtDtZseeezWlAXibMyJaFE0VzPdi2qkIJGgiMjhYg/RbNCkaLGgCqihFUcCqouAH+1AvZZS08l6Mm9x6GwG/TLzWNFSRH/qH6KP4paKCM2ZGtD40Rroo/OUNd5UvLU250Wpj7C/KvMf3h+ij+KWmqBfc6LUx9hflRudFqY+wvypiigrrZk+O+Peo+NH4F5G/KmdzotTH2F+Vebbwx9KPc1NUC+50Wpj7C/Kjc6LUx9hflTFFAq+TorjvMXBzF+VQ2DJ8eZj3qPi1/AvIPyp5+A+yocn8TH0a+4UBudFqY+wvyo3Oi1MfYX5UxRQL7nRamPsL8qVsmT48cu9R8aPwLq4vyqypSx+fN0o/xxUHvc6LUx9hflRudFqY+wvypiigX3Oi1MfYX5UtJk+PPoM1H5j/AIF5Y/yqxpWXj4/4P746D1udFqY+wvyo3Oi1MfYX5UxRQL7nRamPsL8qWyjk+MQvvUfBzF+VWNK5T4l/ZQLSmBbQlnMK45EaRd6GHCmENe911/lDRw03udFqY+wvypa15NdrXDOsiKsSupjKMzPnMN5DhgFuwj8J9NWNAvudFqY+wvyrm50Wpj7C/KmaKCpgssawu+11kIkluREjLNdI9yi+4dZAr3kzMzxCRYFXynQo6IGSSNmjdDdeLwysLwSDdoJFdzLvZpEhlEMjPKFlK5zAxkfysN4vu9tS5GsBhgWIlDhvF8augN5JvON3JY33lixJJJ9NBLudFqY+wvyo3Oi1MfYX5UxRQJWaBVncIqrvUfmgLfpl5KK9x/eH6KP4paKAj+8P0UfxS01Ve9mDWhyS4uiTzXkT8UvoUi+oMmzQzhs29ovRgrJI1rhdSQGF6SEG4ggg3XUFvRSu5y86XvZ/FRucvOl72fxUBbeGPpR7mpqqy2ZPW+PypeNA42fkb9Vcvhz+1s7Jnc0Zs3nbReIwQuI+Vo0kDTw6eQ0FpRSu5y86XvZ/FRucvOl72fxUDD8B9lQ5P4mPo19wrw+TluPlS8Gtn8VVrSwwwQmRrR5YVFWM2yZmbAXICR4j5qseD0UF7RSi5PUi/FN/vLOP+MVd3OXnS97P4qBqlLH583Sj/HFXdzl50vez+KkM1HGJ5JJJFRJLyxln0DNxcjaT/wA0FzRSFmsySIHU2gAi8B3tUTf7o5BH+4qXc5edL3s/ioGqVl4+P+D++Ojc5edL3s/ipaTJ655Bil8x/wDVn5Y/1UFnRVPHaIWtG18VqElzMA+3UVlQqGZZGuVgC68BPnCntzl50vez+KgapXKfEv7KNzl50vez+Klso5PUQucUvBrZ/FQWdFU9qtMEcqxPLMHbDoD2pgucYpHjcG5MTgquIi8i4U9ucvOl72fxUDVcpbc5edL3s/io3OXnS97P4qAyd5h6WX/I9NVTJHFFA8skkqqskhLZ2c6BI40ANeSdAuGkk1PYFimjzkbzFbyumS0oyspKsrKzAqQQRcRQWVFK7nLzpe9n8VG5y86XvZ/FQEf3h+ij+KWio7LAFnkALHe4/OZ39MvOJurtB6Xj5LuHNJdfy3y0lkDJskbTySiNDNKJc1E7zKpwqrNnHVSSSOC64AC7009H94foo/ilpqgKKKKBW28MfSj3NVbZ9jWC37aWWQqyTY43IN8kpgII8m/CFhu0nRhQDQKsrbwx9KPc1NUBRRRQeX4D7KoMsZJe0WKJI0jZwgKSSSSwmBzGUEyNGpJYYjovF950ir9+A+yocn8TH0a+4UEsSkKATiIABY6MRHpr3RRQFUeVcmG0Q2iJSt+fjkAYsqsYhZ5QjFdIDYMJI0gG/TV5Slj8+bpR/jioIcgWB4bOI5CCcbsFVmdY0d2dIVZgCyopCgkDzeADQLGiigKVl4+P+D++OmqVl4+P+D++OghsuTmFpltEhUllWKIC/e4VGI33/iaRmJu9Cx8lWFFFAUrlPiX9lNUrlPiX9lBTZY2OSS22O0KUAXM3MWdWjzUrSSDNgXTB1KqMZGAriGmtHRRQFFFFBVS2ITWWWIqHxPLcpZovLEjlTnFBKEMAcQBIuvr1seyU0EJV2xO8rzOcTP5TknDiYAtcMIvuF919w4Azk7zD0sv+R6aoCiiigVj+8P0UfxS0UR/eH6KP4paKCJoS1oe6R03qPQojN/lS85TUu1G18vVD4KE49+ij+KWsFbYGay3CK1OBugIQ8dqZ1tkkoexS+WMQOAvhkOhb+EGg3u1G18vVD4KNqNr5eqHwUyvBprtBWWyytfHv8vGj0Q8jfopnaja+Xqh8FFt4Y+lHuaqdyBb7ViFpwtYogWUWrDiUzYhEyi4NhePRGcRJ5RQXG1G18vVD4KNqNr5eqHwUpsVJ3PswYOrCzRqyyK6OHVQrBlYAg3g8NWtAo9ka47/LwckPgqGwWVszHv8ALxa+iHkH6KffgPsrPZe+4QECYkTWV7oRM5uWSJnLLECSuAOSCLtHsoLnaja+Xqh8FG1G18vVD4KpMlopynM6QyQ4Y2jYmKZBanLIzTNIVwsFuCppJ8qT8N1+loFdqNr5eqHwUrZLK2Obf5eNHoh1cX6KtKrZLsFpxY7sRvzecx3ZqPzc35V/8dNAxtRtfL1Q+Cjaja+Xqh8FZGzw4hkwiGXPpHCJC0FoSQRqjKwM7ACNVbGWQ6X8kaL1v3FArtRtfL1Q+ClpLK2fTf5fMf0Q8sf6Ks6Vl4+P+D++OgNqNr5eqHwUbUbXy9UPgrP2mKZrZa0s+cUvHZ/LlNpjjuUy55YZSrBWwsnmaAWvuvvqz2IxOuTrMsqlHWzorIS5KkKBccQBvuuvvHDfw8NA7tRtfL1Q+Clso2Vsy+/y8HJD4Ks6VynxL+ygNqNr5eqHwUbUbXy9UPgqpyyP+vg4+42edGZFndFxBMN4UFQ2hrr9Po9NR7BYM3Z3jCAIkgRJhDJZWtCiOO+V45NOLFiUn04KC62o2vl6ofBRtRtfL1Q+CmqKCssFlbAd/l42T0Q6x/0UztRtfL1Q+CoobsxJixXY5r8GPFdjkvw4PKvu4MOnk01jbAJg1gYxO+CyWSNY54J2Ky42jtjlzdmZEQI2JxewW4X3m8NvtRtfL1Q+Cjaja+Xqh8FNUUCNliKzyXuz73HpbALtMvNArte4/vD9FH8UtFAR/eH6KP4paapBse2HwYOKjvxYudLyVLv37X96Bqild+/a/vRv37X96AtvDH0o9zU1VbbM7fHxXGjn8jUxv37X96Bqild+/a/vRv37X96Bh+A+yocn8TH0a+4V4fO3HiuD9dQ2DO5mPiuLXn8goLGild+/a/vRv37X96BqlLH583Sj/HFXd+/a/vS1kzuObiuNHP1cVBZ0Urvv7X96N+/a/vQNUrLx8f8AB/fHRv37X96XlzufTivMfn8sdBZUUrv37X96N+/a/vQNUrlPiX9lG/ftf3pfKOdzL8VwfroLKild+/a/vRv37X96Bqild+/a/vRv37X96Ayf5h6WX/I9NVWZPzuA8VxsnP1j0zvv7X96Bqild+/a/vRv37X96Aj+8P0UfxS0VHZcWfkx4eKjuw38svLXaD2nHv0UfxS1lpbbJJY2C2yQzm3TWWF4jEuJzI6pjUKb1jjUuRw4YzWpj+8P0UfxS1LFZEXzY0XTi8lVGm66/R6btFB7QXAC8m4XXm68/mbq9UUUCtt4Y+lHuas3l/K8iS2tEtAF0FkMaEoubaaaSJ/KuJQMAgLkHBeGuN1x0lt4Y+lHuapGsaEsTGhLLhYlVJZToKk+kXAaPyoK3Ypa2ksitIzMwkljJYqxGblkQJjGh8IULi/Fhv8ATVxXmOMKoVQFAFwVQAABwAAcAr1QeX4D7KosrWxorHZ3WbNb/ZUYnB5cbyRI8flcF6s3Bp0VevwH2UrZbOrwRh0Vxm1NzAML8N19x9poKLI1un3RkhlZ2GCaRhigeNFEqLZcAQ4o74i4IcC9ozdfcTWpqOOBVLFVVSxxMVABZuC83cJqSgKqLbaESK0vLM0CBwWlQgMowQ6F0HSeAAC8k6NN1W9JWeIM0ysoYGUXqwBB3uLhBoMfZMrziWIPaWLA2YLBihfOx2iedJBIUG+OkKLeVNwaFjwE372oEsUYKlY4wUvCkKowBvOC6NF/puqegKVl4+P+D++OmqVl4+P+D++OgzNuykwktpgtrYYrNIWLtC4jtS3FViUjQEW9WvvF7qNLK12oyfNjhje8NijVsQuN5IGnRQbBHexzUd7C5jhW9hw3E3adIHVU0cYUBVAUDQFAAAHIAKD1SuU+Jf2U1SuU+Jf2UFRlu2XW2COO0sj3h5IS0YjFm8oM7qwvLMblW433reNCvXvYjazJHK4naeIzbw8jI7mLAl7EqB5LOJGW/ThYcAIAuJLIjMGaNGYcDMqkj06CeCuwWVEvCIiXm8hFC3nlN1BLRRRQVjzKllleSUwopmLTAgGNQ8l7gkG672Vm0yhIIrLIbW+I2tUzbSQs+1pZykayRBd8coVQ6QU0t5RU4tZYkBjYMAQZZQQdIIzj6CK9pk+JSpWKMFb8JCqCuLhwm7Rf+VAxRRRQKx/eH6KP4paKI/vD9FH8UtFBE0rC0PhjL71HpvUXeVLy1Ltl9Se0leWYCWQsbgIUJOkXC+a81hJbfM1ikksUkkkJnzoAtDPPCiiERxMzksodhJIy33gMF0XtcG92xJqD2ko2xJqD2kpkV2grbZaHvj3k8aPxJyNTG2X1J7SUW3hj6Ue5qymW7Sj2u0Rx202ZkszJK0k8qrnHERQpFjGBUQEl0w8Zwk47g1e2H1J7SUbYk1B7SUnsVtOOyI1x8+RQxklnEgV3USrJISzIwAYXngYXXi41bUCj2h7jvJ4OclQ2C0PmY95PFr+JOQU+/AfZWW2U2pFsESGVoZJFCQyiWSzrHKU46RlIBVBe2Fr7yAACSKDQ7Yk1J7SUbYk1B7SVnNjmUXa3zLI2cLGYkB5f+njilVYFaInCokiZXVgAThY+VebtbQK7Yk1B7SUtZLQ+ObeTxo/Emriqzqkynao44LU85cRhxizbPG58iEBVZSCCSQOEDTpIF9BY7ZfUntJRtiTUHtJWXyVAZGsaraJZGVTPLLFaJ5IhCjMI7OSGwynGwTEwJZYHv03VsqBXbEmoPaSl5LQ+fTeT5j/iTljqypWXj4/4P746A2y+pPaSjbEmpPaSsTlnKKma0Zi0sgWSOKVJJ5rjJn487IVxXwQKt8ZZbgc4dFygnVbFJmawws5ctg0s5LFriQGDHS6kAFWOkrcTpJoHNsSag9pKXyjaHzL7yeDnJVlSuU+Jf2UBth9Se0lG2H1J7SVQ7IrSu3YIY7QYJyMeJpXWPNnGqpmS2GV3fRdcSApN4IW/mwSWRklxPnIwyKkmee1q8gRc80czgYlLXcGgHFwG8AL/AGxJqD2ko2xJqD2kpqigrMn2h8B3k8bJ+JNY9M7ZfUntJS+NBZpDK5RMcuNwzR4Vzj3tjUgr7QRdWIsVukvjBnlJEsYsuGWZ0nvtjraMBJ3+MQZsXvfcl5Fw00G/2xJqD2ko2xJqD2kpqigRssjGeTEmDeo9F4N+mXkrte4/vD9FH8UtFAR/eH6KP4paapB7SFtD3hzfFH5qSP8Ail9Kg1LuivNl7qfw0DVFK7orzZe6n8NG6K82Xup/DQFt4Y+lHuamqrLZlBb4/Jl40Hip+Rv00zuivNl7qfw0DVFK7orzZe6n8NG6K82Xup/DQMPwH2VDk/iY+jX3CvD5RW4+TLwaqfw1DYMoLmY/Jl4tf9KfkH6aCxopXdFebL3U/ho3RXmy91P4aBqlLH583Sj/ABxV3dFebL3U/hpWyZQXHL5MvGj/AEp9XF+mgtKKV3RXmy91P4aN0V5svdT+GgapWXj4/wCD++OjdFebL3U/hpaTKC59Dhl8x/8ASn5Y/wBNBZ0UruivNl7qfw0borzZe6n8NA1SuU+Jf2UborzZe6n8NLZRygphcYZeDVT+Ggs6KV3RXmy91P4aN0V5svdT+GgaopXdFebL3U/ho3RXmy91P4aAyf5h6WX/ACPTVVtitoVSCso3yQ8VNwM7EHzeQimN0V5svdT+GgaopXdFebL3U/ho3RXmy91P4aAj+8P0UfxS0VHZZw08hAYb3H5yunpl5wF9doPace/RR++Ws2mVLQglRpsTRZQs0V80ceNrPO8KMRmiFAYu5U3EgC4i/SNIovncHSM0guPp0y0uuxuyiPNCyWfN487m82mHOAXB7rvOAAAPoAHJQWIrtFFArbeGPpR7mpqlbbwx9KPc1NUBRRRQeX4D7KhyfxMfRr7hUz8B9lQ5P4mPo19woGKKKKApSx+fN0o/xxU3Slj8+bpR/jioG6KKKApWXj4/4P746apWXj4/4P746BqiiigKVynxL+ymqVynxL+ygaoqqyjbLQryCOHEqwl0IXEWkANy3Y1v03DDovvvxClLLb7aSMdniUZ3Cbr783jhGIeVzHmOnV8A4CGgorPPly2AkDJZIBcBs/HpCC8NddwPwL+fDcNNRTZatocFbBemZDmMkFhKTpjx4gDcLuBeXhoNNRWbbLNtJI2jm1uUh8SzkG/SMAZMRuI9IAuJvPBXVy5bMRG5puvOEmVV0KwAv0HhGn/jTw0GjorO2fLdsJIbJ5QXMQ2NTdcGwrd+I4govvA0k8FxMliyra2mVZLEEjbCMQkDFD5RZjo0i7ALtGkNpN4oLSP7w/RR/FLRRH94foo/ilooIzaUW0PjdVvijuxELf5UvLU26MWuj7a/OpytcwDkFBDujFro+2vzo3Ri10fbX51NgHIKMA5BQIWy3x3x77HxoPnryN+dM7oxa6Ptr86nwDkFcwDkFBDujFro+2vzo3Ri10fbX51NgHIKMA5BQLvlCK477Hwc9fnUNgyhHmY99j4tfxLyD86ewDkFGAcgoId0YtdH21+dG6MWuj7a/OpsA5BRgHIKCHdGLXR9tfnStkt8eOXfY+NH4l1cX51YYByCu4ByCgg3Ri10fbX50boxa6Ptr86mwDkFGAcgoId0YtdH21+dLSW+PPoc7H5j/jXlT86fwDkFdwDkFBBujFro+2vzo3Ri10fbX51NgHIKMA5BQQ7oxa6Ptr86Wyjb4zC4EsfBz1+dP4ByCu4ByCgg3Ri1sfbX50boxa6Ptr86mwDkFGAcgoId0YtdH21+dG6MWtj7a/OpsA5BRgHIKCHdGLXR9tfnRujFrY+2vzqbAOQUYByCgh3Ri1sfbX50boxa6Ptr86mwDkFGAcgoFLNOrTuVZW3uPzSGu0y8lFOAUUH/2Q=="/>
          <p:cNvSpPr>
            <a:spLocks noChangeAspect="1" noChangeArrowheads="1"/>
          </p:cNvSpPr>
          <p:nvPr/>
        </p:nvSpPr>
        <p:spPr bwMode="auto">
          <a:xfrm>
            <a:off x="79375" y="-727075"/>
            <a:ext cx="1828800" cy="1504950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Oval 6"/>
          <p:cNvSpPr/>
          <p:nvPr/>
        </p:nvSpPr>
        <p:spPr bwMode="auto">
          <a:xfrm>
            <a:off x="8915400" y="152400"/>
            <a:ext cx="990600" cy="990600"/>
          </a:xfrm>
          <a:prstGeom prst="ellips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5486400" y="2105085"/>
            <a:ext cx="3581400" cy="4524315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noAutofit/>
          </a:bodyPr>
          <a:lstStyle/>
          <a:p>
            <a:pPr marL="225425" indent="-225425">
              <a:buClr>
                <a:schemeClr val="bg2"/>
              </a:buClr>
              <a:buSzPct val="125000"/>
              <a:buFont typeface="Wingdings" pitchFamily="2" charset="2"/>
              <a:buChar char="§"/>
            </a:pPr>
            <a:r>
              <a:rPr lang="en-US" sz="1800" dirty="0" smtClean="0">
                <a:solidFill>
                  <a:schemeClr val="bg1"/>
                </a:solidFill>
              </a:rPr>
              <a:t>Yet another “new program” from OP; if I just wait it out, this program will probably go away</a:t>
            </a:r>
          </a:p>
          <a:p>
            <a:pPr marL="225425" indent="-225425">
              <a:buClr>
                <a:schemeClr val="bg2"/>
              </a:buClr>
              <a:buSzPct val="125000"/>
              <a:buFont typeface="Wingdings" pitchFamily="2" charset="2"/>
              <a:buChar char="§"/>
            </a:pPr>
            <a:endParaRPr lang="en-US" sz="1800" dirty="0" smtClean="0">
              <a:solidFill>
                <a:schemeClr val="bg1"/>
              </a:solidFill>
            </a:endParaRPr>
          </a:p>
          <a:p>
            <a:pPr marL="225425" indent="-225425">
              <a:buClr>
                <a:schemeClr val="bg2"/>
              </a:buClr>
              <a:buSzPct val="125000"/>
              <a:buFont typeface="Wingdings" pitchFamily="2" charset="2"/>
              <a:buChar char="§"/>
            </a:pPr>
            <a:r>
              <a:rPr lang="en-US" sz="1800" dirty="0" smtClean="0">
                <a:solidFill>
                  <a:schemeClr val="bg1"/>
                </a:solidFill>
              </a:rPr>
              <a:t>I do not have time to learn how to use this new thing;  even if I did, it doesn’t have the travel options that I need anyway</a:t>
            </a:r>
          </a:p>
          <a:p>
            <a:pPr marL="225425" indent="-225425">
              <a:buClr>
                <a:schemeClr val="bg2"/>
              </a:buClr>
              <a:buSzPct val="125000"/>
              <a:buFont typeface="Wingdings" pitchFamily="2" charset="2"/>
              <a:buChar char="§"/>
            </a:pPr>
            <a:endParaRPr lang="en-US" sz="1800" dirty="0" smtClean="0">
              <a:solidFill>
                <a:schemeClr val="bg1"/>
              </a:solidFill>
            </a:endParaRPr>
          </a:p>
          <a:p>
            <a:pPr marL="225425" indent="-225425">
              <a:buClr>
                <a:schemeClr val="bg2"/>
              </a:buClr>
              <a:buSzPct val="125000"/>
              <a:buFont typeface="Wingdings" pitchFamily="2" charset="2"/>
              <a:buChar char="§"/>
            </a:pPr>
            <a:r>
              <a:rPr lang="en-US" sz="1800" dirty="0" smtClean="0">
                <a:solidFill>
                  <a:schemeClr val="bg1"/>
                </a:solidFill>
              </a:rPr>
              <a:t>The savings don’t accrue to me, so why should I do it?  </a:t>
            </a:r>
          </a:p>
          <a:p>
            <a:pPr marL="225425" indent="-225425">
              <a:buClr>
                <a:schemeClr val="bg2"/>
              </a:buClr>
              <a:buSzPct val="125000"/>
              <a:buFont typeface="Wingdings" pitchFamily="2" charset="2"/>
              <a:buChar char="§"/>
            </a:pPr>
            <a:endParaRPr lang="en-US" sz="1800" dirty="0" smtClean="0">
              <a:solidFill>
                <a:schemeClr val="bg1"/>
              </a:solidFill>
            </a:endParaRPr>
          </a:p>
          <a:p>
            <a:pPr marL="225425" indent="-225425">
              <a:buClr>
                <a:schemeClr val="bg2"/>
              </a:buClr>
              <a:buSzPct val="125000"/>
              <a:buFont typeface="Wingdings" pitchFamily="2" charset="2"/>
              <a:buChar char="§"/>
            </a:pPr>
            <a:r>
              <a:rPr lang="en-US" sz="1800" dirty="0" smtClean="0">
                <a:solidFill>
                  <a:schemeClr val="bg1"/>
                </a:solidFill>
              </a:rPr>
              <a:t>Connexxus?  What’s that?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1524000" y="2105085"/>
            <a:ext cx="3581400" cy="4524315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noAutofit/>
          </a:bodyPr>
          <a:lstStyle/>
          <a:p>
            <a:pPr marL="225425" indent="-225425">
              <a:buClr>
                <a:schemeClr val="bg2"/>
              </a:buClr>
              <a:buSzPct val="125000"/>
              <a:buFont typeface="Wingdings" pitchFamily="2" charset="2"/>
              <a:buChar char="§"/>
            </a:pPr>
            <a:r>
              <a:rPr lang="en-US" sz="1800" dirty="0" smtClean="0">
                <a:solidFill>
                  <a:schemeClr val="bg1"/>
                </a:solidFill>
              </a:rPr>
              <a:t>This program is a no-brainer!  Even at 20% utilization, the University saves $3 million/yr.  At 80% utilization, UC would save $15 million/yr.!</a:t>
            </a:r>
          </a:p>
          <a:p>
            <a:pPr>
              <a:buClr>
                <a:schemeClr val="bg2"/>
              </a:buClr>
              <a:buSzPct val="125000"/>
              <a:buFont typeface="Wingdings" pitchFamily="2" charset="2"/>
              <a:buChar char="§"/>
            </a:pPr>
            <a:endParaRPr lang="en-US" sz="1800" dirty="0" smtClean="0">
              <a:solidFill>
                <a:schemeClr val="bg1"/>
              </a:solidFill>
            </a:endParaRPr>
          </a:p>
          <a:p>
            <a:pPr marL="225425" indent="-225425">
              <a:buClr>
                <a:schemeClr val="bg2"/>
              </a:buClr>
              <a:buSzPct val="125000"/>
              <a:buFont typeface="Wingdings" pitchFamily="2" charset="2"/>
              <a:buChar char="§"/>
            </a:pPr>
            <a:r>
              <a:rPr lang="en-US" sz="1800" dirty="0" smtClean="0">
                <a:solidFill>
                  <a:schemeClr val="bg1"/>
                </a:solidFill>
              </a:rPr>
              <a:t>Some campuses have adopted Connexxus full-throttle, but others have hardly touched it…</a:t>
            </a:r>
          </a:p>
          <a:p>
            <a:pPr>
              <a:buClr>
                <a:schemeClr val="bg2"/>
              </a:buClr>
              <a:buSzPct val="125000"/>
              <a:buFont typeface="Wingdings" pitchFamily="2" charset="2"/>
              <a:buChar char="§"/>
            </a:pPr>
            <a:endParaRPr lang="en-US" sz="1800" dirty="0" smtClean="0">
              <a:solidFill>
                <a:schemeClr val="bg1"/>
              </a:solidFill>
            </a:endParaRPr>
          </a:p>
          <a:p>
            <a:pPr marL="225425" indent="-225425">
              <a:buClr>
                <a:schemeClr val="bg2"/>
              </a:buClr>
              <a:buSzPct val="125000"/>
              <a:buFont typeface="Wingdings" pitchFamily="2" charset="2"/>
              <a:buChar char="§"/>
            </a:pPr>
            <a:r>
              <a:rPr lang="en-US" sz="1800" dirty="0" smtClean="0">
                <a:solidFill>
                  <a:schemeClr val="bg1"/>
                </a:solidFill>
              </a:rPr>
              <a:t>What’s missing?  Are we doing enough communication?  Enough training?  Something else? 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524000" y="1607125"/>
            <a:ext cx="3581400" cy="409700"/>
          </a:xfrm>
          <a:prstGeom prst="rect">
            <a:avLst/>
          </a:prstGeom>
          <a:solidFill>
            <a:schemeClr val="bg2"/>
          </a:solidFill>
        </p:spPr>
        <p:txBody>
          <a:bodyPr wrap="square" rtlCol="0" anchor="ctr">
            <a:noAutofit/>
          </a:bodyPr>
          <a:lstStyle/>
          <a:p>
            <a:pPr marL="225425" indent="-225425" algn="ctr">
              <a:buClr>
                <a:schemeClr val="bg2"/>
              </a:buClr>
              <a:buSzPct val="125000"/>
            </a:pPr>
            <a:r>
              <a:rPr lang="en-US" sz="1600" b="1" dirty="0" smtClean="0">
                <a:solidFill>
                  <a:schemeClr val="bg1"/>
                </a:solidFill>
              </a:rPr>
              <a:t>Situation from </a:t>
            </a:r>
            <a:r>
              <a:rPr lang="en-US" sz="1600" b="1" dirty="0" smtClean="0">
                <a:solidFill>
                  <a:srgbClr val="FFC000"/>
                </a:solidFill>
              </a:rPr>
              <a:t>Our </a:t>
            </a:r>
            <a:r>
              <a:rPr lang="en-US" sz="1600" b="1" dirty="0" smtClean="0">
                <a:solidFill>
                  <a:schemeClr val="bg1"/>
                </a:solidFill>
              </a:rPr>
              <a:t>Perspective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5486400" y="1600200"/>
            <a:ext cx="3581400" cy="409700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 wrap="square" rtlCol="0" anchor="ctr">
            <a:noAutofit/>
          </a:bodyPr>
          <a:lstStyle/>
          <a:p>
            <a:pPr marL="225425" indent="-225425" algn="ctr">
              <a:buClr>
                <a:schemeClr val="bg2"/>
              </a:buClr>
              <a:buSzPct val="125000"/>
            </a:pPr>
            <a:r>
              <a:rPr lang="en-US" sz="1600" b="1" dirty="0" smtClean="0">
                <a:solidFill>
                  <a:schemeClr val="bg1"/>
                </a:solidFill>
              </a:rPr>
              <a:t>Situation from </a:t>
            </a:r>
            <a:r>
              <a:rPr lang="en-US" sz="1600" b="1" dirty="0" smtClean="0">
                <a:solidFill>
                  <a:srgbClr val="FFC000"/>
                </a:solidFill>
              </a:rPr>
              <a:t>Their</a:t>
            </a:r>
            <a:r>
              <a:rPr lang="en-US" sz="1600" b="1" dirty="0" smtClean="0">
                <a:solidFill>
                  <a:schemeClr val="bg1"/>
                </a:solidFill>
              </a:rPr>
              <a:t> Perspective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8879775" y="480950"/>
            <a:ext cx="10668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Connexxus</a:t>
            </a:r>
            <a:endParaRPr lang="en-US" dirty="0"/>
          </a:p>
        </p:txBody>
      </p:sp>
    </p:spTree>
    <p:custDataLst>
      <p:tags r:id="rId1"/>
    </p:custDataLst>
  </p:cSld>
  <p:clrMapOvr>
    <a:masterClrMapping/>
  </p:clrMapOvr>
  <p:transition xmlns:p14="http://schemas.microsoft.com/office/powerpoint/2010/main">
    <p:cut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Rectangle 2"/>
          <p:cNvSpPr>
            <a:spLocks noGrp="1" noChangeArrowheads="1"/>
          </p:cNvSpPr>
          <p:nvPr>
            <p:ph type="title"/>
          </p:nvPr>
        </p:nvSpPr>
        <p:spPr>
          <a:xfrm>
            <a:off x="762000" y="838200"/>
            <a:ext cx="8153400" cy="304800"/>
          </a:xfrm>
        </p:spPr>
        <p:txBody>
          <a:bodyPr/>
          <a:lstStyle/>
          <a:p>
            <a:pPr lvl="1"/>
            <a:r>
              <a:rPr lang="en-US" sz="2300" dirty="0" smtClean="0"/>
              <a:t>Case Study B:  Part 3 – Two Layers of Learning</a:t>
            </a:r>
          </a:p>
        </p:txBody>
      </p:sp>
      <p:sp>
        <p:nvSpPr>
          <p:cNvPr id="93188" name="AutoShape 4" descr="data:image/jpg;base64,/9j/4AAQSkZJRgABAQAAAQABAAD/2wCEAAkGBhQSDhQQEA8QEBQUEBkQFA4QFhEQFBAQFBwWFRUQFRQYHycqFxkjGRUTHy8iIycsLCwsFR4xQTIqNSYrLSkBCQoKBQUFDQUFDSkYEhgpKSkpKSkpKSkpKSkpKSkpKSkpKSkpKSkpKSkpKSkpKSkpKSkpKSkpKSkpKSkpKSkpKf/AABEIAMwA9wMBIgACEQEDEQH/xAAbAAACAwEBAQAAAAAAAAAAAAAABAMFBgECB//EAEkQAAIBAQMEDQkIAQMDBQEAAAECAwAEERIFEyFTBhQVIzEzUVJzkZKT0iIyQVRxsbLR0wc0QmFiY3Kis0OBoSR0dRY1NsHCCP/EABQBAQAAAAAAAAAAAAAAAAAAAAD/xAAUEQEAAAAAAAAAAAAAAAAAAAAA/9oADAMBAAIRAxEAPwD7PLaXzhRERrkViWcp5xYXABTzf+a5nJtXF3j/AE67H94foo/ilpqgUzk2ri7x/p0ZybVxd4/06booFM5Nq4u8f6dGcm1cXeP9Om6KBTOTauLvH+nRnJtXF3j/AE6booFM5Nq4u8f6dGcm1cXeP9Om6KBTOTauLvH+nRnJtXF3j/TrL5O+0FpctS5KNjwtCpkefPBlzVyFXC4LyTnI9HovOnRV3YNl1kmWV4bVFKsK4pShLZpdOluTzT1Ggdzk2ri7x/p0ZybVxd4/06rZNnNhWBLQ1tgELsUSYtcjuvnKG4CR/wDR5KnynssslnEZtFqihEq4o84cOcGjzb+HhGj86BvOTauLvH+nRnJtXF3j/TqOfL0CWiOzPMizSrijhN+J106VHpHknqqHZRsijsNjltc2IpGAcK6WdmIVUH5liBQNZybVxd4/06M5Nq4u8f6dYXYr9sAtNshslpsEtia0xCazu7iRZkYMVbzVuDBWuOm8i6qu1f8A9ARLLI0eT55bLHMIXtiuo8psWErGRpvCORew0D0UH07OTauLvH+nRnJtXF3j/TrH7LPtjsNiiVlfbUsiJIlniNzZuRQ6u7Eb2CjAgHSbxo9Ij2WfbNZLEqLcbROwUtZYmF8IYBt8e64EXjRw/kKDaZybVxd4/wBOjOTauLvH+nTQNdoFM5Nq4u8f6dGcm1cXeP8ATpuigUzk2ri7x/p0ZybVxd4/06booFM5Nq4u8f6dGcm1cXeP9Om6KBTOTauLvH+nRnJtXF3j/TpuigWs1oYuyOiqQqterFwQxYelRd5v/NFcj+8P0UfxS0UBH94foo/ilpqlY/vD9FH8UtNUBRRRQFFFFAUUUUBRRRQfJtjv/wA5yh/2Q+Gx1P8AZMdGWf8AyU3/AOqNhViefZPlDKcattUxbWSZlZBLKogVgmIDEAYXvI/Llq+H2evFPa3sVuazJbWMk0LRJNhka/FJC5YYCcR4Qw6hQfNNkf8A8Lyb/wB2nvtNfTPtY2ObcyTMqm6WAbbhN9xDxXkge1cS+0jkrxsk+zGO05Ns+TYp2s8NnZXBwCV3KBlUkkgaS7k6NJPopj/0VO00882UM7JLYmsKnMIiQxu2JmCB/KY/meTkuoEfs0tj5QUZXnW5mgWxwryLHcbTLcDozk4YfxiWtXsgyLBarM0FrQPCbnZWZox5BxAllIIAIv4fRSOwfYtudYlsYmz6ozFHKCMgOS5U3E3+UW06OGvOz/ItoteTZrLZJEiklATHIWVc2SM4pKgnSt44PTQfKNg9lGU9kBtkCFLFk6IQ2cHEd7jVo7OgLabz5chvvI4Dw18/yd/7Ba//ACFl+C019m+znYRlbJ7xwSTZP2mHd5o4gxlkLKbjiMYvN+AcPAt1Ze0fYdlBBNYoJrIbJLaUnz0hkEqiISKgKheG6Q3gX3kDSNNAl9p2S4l2O5JtCwxrK8MKvMqqHdRZxcGYC9rsK3X8F1TfbrkyJLPk2ZIY0kkRs5KiqrS3JBdjYDyrrzw8tbn7QvsymteS7HYbJJENq4VxTlkxIkebB8lW0nQaj+077NrTlGz2KKzvZ1azKwcys6gkrGow4UN+lDw3eig+lrwV2uCu0BRRRQFFFFAUUUUBRRRQKx/eH6KP4paKI/vD9FH8UtFBE8xW0PdG771HpUxi7ypecwqXbjery9cHjoRv+ofoo/ilpLZRY89Y5IlMt7YQDCY8YuZTiukIV1F17KfOUMum+6gd22/q8vXB46NuN6vL1weOvncOxm1XPnLLGpkzUxWJohEjR2aeJogpbyTnGW4C8DH51wJGm2FZJls2ejm0qrJFBKSpaSzIt8eO4+egbNknhzd/poL7bjery9cHjo243q8vXB46ZxjlFUmzHJW2rC9mUm+Ro1xIQGjGcQmUEkaVALcuigstuN6vL1weOjbjery9cHjr53FsZtmcd7TDtgSSvJLEjxYZJpbJCiugZh5CTCdBfcRjVrvSHtj2xy1w2yB5TnUJU2h2dTdaYbKIBaUBN5Ehd1bRffGhu0mg223G9Xl64PHRtxvV5euDx0xjHKK7jHKKBbbbery9cHjo22/q8vXB46zuXtjQmyhFKIUZTZ5xLKSuic7W2uTeb9Gae64XDTzjfl//AEraTHZcVlJzUMEMqE2aQsYbLaonNzOAymWWIAk+jFoABoPpW3G9Xl64PHRtxvV5euDx1NEwwjgGgaL77vyvr3jHKKBbbjery9cHjo22/q8vXB46yez3Y5NaZFay6C9knsssiuEZL83PAwvIv32HBo9ExqqtOxm0GYytZsRlsV7qu12CWyV7TK6B2cFcBmj8pb8QQLwUH0Hbjery9cHjo243q8vXB46zmwTJMsAkzq5lGis6LAWVrpo4gs81ykhcTYRoOnNk+nTrMY5RQLbcb1eXrg8dG239Xl64PHXu1QJIhjkCurC5kPAw5DyivmE2wu07TjWODNynJ1viluaC9rRNm1gQnHdeVQjEOD0kUH0zbjery9cHjo243q8vXB46yWxzIU0dsxPFgRbRaZw+KMqUnWEIoAN+IYXBF1wwfmL9tjHKKBbbjery9cHjo22/q8vXB46YxjlFfPdkWxSeaXKEixK2cezmAERFnwizrI6uXGFQElBQ3Yr7+Sg3W3G9Xl64PHRtxvV5euDx1kth+RZ4bYzzxYFFmkhxhozGzm1TyjNqGJSMxyIVU+aLlvJWtrjHKKBfbjery9cHjo243q8vXB46ZxjlFZjZ3k2SeFBAhkdHMixnNtDI2BkzVoVmXyGDsMS6UNzeigvttt6vL1weOjbjery9cHjr59lLY5aZXtDtZseeezWlAXibMyJaFE0VzPdi2qkIJGgiMjhYg/RbNCkaLGgCqihFUcCqouAH+1AvZZS08l6Mm9x6GwG/TLzWNFSRH/qH6KP4paKCM2ZGtD40Rroo/OUNd5UvLU250Wpj7C/KvMf3h+ij+KWmqBfc6LUx9hflRudFqY+wvypiigrrZk+O+Peo+NH4F5G/KmdzotTH2F+Vebbwx9KPc1NUC+50Wpj7C/Kjc6LUx9hflTFFAq+TorjvMXBzF+VQ2DJ8eZj3qPi1/AvIPyp5+A+yocn8TH0a+4UBudFqY+wvyo3Oi1MfYX5UxRQL7nRamPsL8qVsmT48cu9R8aPwLq4vyqypSx+fN0o/xxUHvc6LUx9hflRudFqY+wvypiigX3Oi1MfYX5UtJk+PPoM1H5j/AIF5Y/yqxpWXj4/4P746D1udFqY+wvyo3Oi1MfYX5UxRQL7nRamPsL8qWyjk+MQvvUfBzF+VWNK5T4l/ZQLSmBbQlnMK45EaRd6GHCmENe911/lDRw03udFqY+wvypa15NdrXDOsiKsSupjKMzPnMN5DhgFuwj8J9NWNAvudFqY+wvyrm50Wpj7C/KmaKCpgssawu+11kIkluREjLNdI9yi+4dZAr3kzMzxCRYFXynQo6IGSSNmjdDdeLwysLwSDdoJFdzLvZpEhlEMjPKFlK5zAxkfysN4vu9tS5GsBhgWIlDhvF8augN5JvON3JY33lixJJJ9NBLudFqY+wvyo3Oi1MfYX5UxRQJWaBVncIqrvUfmgLfpl5KK9x/eH6KP4paKAj+8P0UfxS01Ve9mDWhyS4uiTzXkT8UvoUi+oMmzQzhs29ovRgrJI1rhdSQGF6SEG4ggg3XUFvRSu5y86XvZ/FRucvOl72fxUBbeGPpR7mpqqy2ZPW+PypeNA42fkb9Vcvhz+1s7Jnc0Zs3nbReIwQuI+Vo0kDTw6eQ0FpRSu5y86XvZ/FRucvOl72fxUDD8B9lQ5P4mPo19wrw+TluPlS8Gtn8VVrSwwwQmRrR5YVFWM2yZmbAXICR4j5qseD0UF7RSi5PUi/FN/vLOP+MVd3OXnS97P4qBqlLH583Sj/HFXdzl50vez+KkM1HGJ5JJJFRJLyxln0DNxcjaT/wA0FzRSFmsySIHU2gAi8B3tUTf7o5BH+4qXc5edL3s/ioGqVl4+P+D++Ojc5edL3s/ipaTJ655Bil8x/wDVn5Y/1UFnRVPHaIWtG18VqElzMA+3UVlQqGZZGuVgC68BPnCntzl50vez+KgapXKfEv7KNzl50vez+Klso5PUQucUvBrZ/FQWdFU9qtMEcqxPLMHbDoD2pgucYpHjcG5MTgquIi8i4U9ucvOl72fxUDVcpbc5edL3s/io3OXnS97P4qAyd5h6WX/I9NVTJHFFA8skkqqskhLZ2c6BI40ANeSdAuGkk1PYFimjzkbzFbyumS0oyspKsrKzAqQQRcRQWVFK7nLzpe9n8VG5y86XvZ/FQEf3h+ij+KWio7LAFnkALHe4/OZ39MvOJurtB6Xj5LuHNJdfy3y0lkDJskbTySiNDNKJc1E7zKpwqrNnHVSSSOC64AC7009H94foo/ilpqgKKKKBW28MfSj3NVbZ9jWC37aWWQqyTY43IN8kpgII8m/CFhu0nRhQDQKsrbwx9KPc1NUBRRRQeX4D7KoMsZJe0WKJI0jZwgKSSSSwmBzGUEyNGpJYYjovF950ir9+A+yocn8TH0a+4UEsSkKATiIABY6MRHpr3RRQFUeVcmG0Q2iJSt+fjkAYsqsYhZ5QjFdIDYMJI0gG/TV5Slj8+bpR/jioIcgWB4bOI5CCcbsFVmdY0d2dIVZgCyopCgkDzeADQLGiigKVl4+P+D++OmqVl4+P+D++OghsuTmFpltEhUllWKIC/e4VGI33/iaRmJu9Cx8lWFFFAUrlPiX9lNUrlPiX9lBTZY2OSS22O0KUAXM3MWdWjzUrSSDNgXTB1KqMZGAriGmtHRRQFFFFBVS2ITWWWIqHxPLcpZovLEjlTnFBKEMAcQBIuvr1seyU0EJV2xO8rzOcTP5TknDiYAtcMIvuF919w4Azk7zD0sv+R6aoCiiigVj+8P0UfxS0UR/eH6KP4paKCJoS1oe6R03qPQojN/lS85TUu1G18vVD4KE49+ij+KWsFbYGay3CK1OBugIQ8dqZ1tkkoexS+WMQOAvhkOhb+EGg3u1G18vVD4KNqNr5eqHwUyvBprtBWWyytfHv8vGj0Q8jfopnaja+Xqh8FFt4Y+lHuaqdyBb7ViFpwtYogWUWrDiUzYhEyi4NhePRGcRJ5RQXG1G18vVD4KNqNr5eqHwUpsVJ3PswYOrCzRqyyK6OHVQrBlYAg3g8NWtAo9ka47/LwckPgqGwWVszHv8ALxa+iHkH6KffgPsrPZe+4QECYkTWV7oRM5uWSJnLLECSuAOSCLtHsoLnaja+Xqh8FG1G18vVD4KpMlopynM6QyQ4Y2jYmKZBanLIzTNIVwsFuCppJ8qT8N1+loFdqNr5eqHwUrZLK2Obf5eNHoh1cX6KtKrZLsFpxY7sRvzecx3ZqPzc35V/8dNAxtRtfL1Q+Cjaja+Xqh8FZGzw4hkwiGXPpHCJC0FoSQRqjKwM7ACNVbGWQ6X8kaL1v3FArtRtfL1Q+ClpLK2fTf5fMf0Q8sf6Ks6Vl4+P+D++OgNqNr5eqHwUbUbXy9UPgrP2mKZrZa0s+cUvHZ/LlNpjjuUy55YZSrBWwsnmaAWvuvvqz2IxOuTrMsqlHWzorIS5KkKBccQBvuuvvHDfw8NA7tRtfL1Q+Clso2Vsy+/y8HJD4Ks6VynxL+ygNqNr5eqHwUbUbXy9UPgqpyyP+vg4+42edGZFndFxBMN4UFQ2hrr9Po9NR7BYM3Z3jCAIkgRJhDJZWtCiOO+V45NOLFiUn04KC62o2vl6ofBRtRtfL1Q+CmqKCssFlbAd/l42T0Q6x/0UztRtfL1Q+CoobsxJixXY5r8GPFdjkvw4PKvu4MOnk01jbAJg1gYxO+CyWSNY54J2Ky42jtjlzdmZEQI2JxewW4X3m8NvtRtfL1Q+Cjaja+Xqh8FNUUCNliKzyXuz73HpbALtMvNArte4/vD9FH8UtFAR/eH6KP4paapBse2HwYOKjvxYudLyVLv37X96Bqild+/a/vRv37X96AtvDH0o9zU1VbbM7fHxXGjn8jUxv37X96Bqild+/a/vRv37X96Bh+A+yocn8TH0a+4V4fO3HiuD9dQ2DO5mPiuLXn8goLGild+/a/vRv37X96BqlLH583Sj/HFXd+/a/vS1kzuObiuNHP1cVBZ0Urvv7X96N+/a/vQNUrLx8f8AB/fHRv37X96XlzufTivMfn8sdBZUUrv37X96N+/a/vQNUrlPiX9lG/ftf3pfKOdzL8VwfroLKild+/a/vRv37X96Bqild+/a/vRv37X96Ayf5h6WX/I9NVWZPzuA8VxsnP1j0zvv7X96Bqild+/a/vRv37X96Aj+8P0UfxS0VHZcWfkx4eKjuw38svLXaD2nHv0UfxS1lpbbJJY2C2yQzm3TWWF4jEuJzI6pjUKb1jjUuRw4YzWpj+8P0UfxS1LFZEXzY0XTi8lVGm66/R6btFB7QXAC8m4XXm68/mbq9UUUCtt4Y+lHuas3l/K8iS2tEtAF0FkMaEoubaaaSJ/KuJQMAgLkHBeGuN1x0lt4Y+lHuapGsaEsTGhLLhYlVJZToKk+kXAaPyoK3Ypa2ksitIzMwkljJYqxGblkQJjGh8IULi/Fhv8ATVxXmOMKoVQFAFwVQAABwAAcAr1QeX4D7KosrWxorHZ3WbNb/ZUYnB5cbyRI8flcF6s3Bp0VevwH2UrZbOrwRh0Vxm1NzAML8N19x9poKLI1un3RkhlZ2GCaRhigeNFEqLZcAQ4o74i4IcC9ozdfcTWpqOOBVLFVVSxxMVABZuC83cJqSgKqLbaESK0vLM0CBwWlQgMowQ6F0HSeAAC8k6NN1W9JWeIM0ysoYGUXqwBB3uLhBoMfZMrziWIPaWLA2YLBihfOx2iedJBIUG+OkKLeVNwaFjwE372oEsUYKlY4wUvCkKowBvOC6NF/puqegKVl4+P+D++OmqVl4+P+D++OgzNuykwktpgtrYYrNIWLtC4jtS3FViUjQEW9WvvF7qNLK12oyfNjhje8NijVsQuN5IGnRQbBHexzUd7C5jhW9hw3E3adIHVU0cYUBVAUDQFAAAHIAKD1SuU+Jf2U1SuU+Jf2UFRlu2XW2COO0sj3h5IS0YjFm8oM7qwvLMblW433reNCvXvYjazJHK4naeIzbw8jI7mLAl7EqB5LOJGW/ThYcAIAuJLIjMGaNGYcDMqkj06CeCuwWVEvCIiXm8hFC3nlN1BLRRRQVjzKllleSUwopmLTAgGNQ8l7gkG672Vm0yhIIrLIbW+I2tUzbSQs+1pZykayRBd8coVQ6QU0t5RU4tZYkBjYMAQZZQQdIIzj6CK9pk+JSpWKMFb8JCqCuLhwm7Rf+VAxRRRQKx/eH6KP4paKI/vD9FH8UtFBE0rC0PhjL71HpvUXeVLy1Ltl9Se0leWYCWQsbgIUJOkXC+a81hJbfM1ikksUkkkJnzoAtDPPCiiERxMzksodhJIy33gMF0XtcG92xJqD2ko2xJqD2kpkV2grbZaHvj3k8aPxJyNTG2X1J7SUW3hj6Ue5qymW7Sj2u0Rx202ZkszJK0k8qrnHERQpFjGBUQEl0w8Zwk47g1e2H1J7SUbYk1B7SUnsVtOOyI1x8+RQxklnEgV3USrJISzIwAYXngYXXi41bUCj2h7jvJ4OclQ2C0PmY95PFr+JOQU+/AfZWW2U2pFsESGVoZJFCQyiWSzrHKU46RlIBVBe2Fr7yAACSKDQ7Yk1J7SUbYk1B7SVnNjmUXa3zLI2cLGYkB5f+njilVYFaInCokiZXVgAThY+VebtbQK7Yk1B7SUtZLQ+ObeTxo/Emriqzqkynao44LU85cRhxizbPG58iEBVZSCCSQOEDTpIF9BY7ZfUntJRtiTUHtJWXyVAZGsaraJZGVTPLLFaJ5IhCjMI7OSGwynGwTEwJZYHv03VsqBXbEmoPaSl5LQ+fTeT5j/iTljqypWXj4/4P746A2y+pPaSjbEmpPaSsTlnKKma0Zi0sgWSOKVJJ5rjJn487IVxXwQKt8ZZbgc4dFygnVbFJmawws5ctg0s5LFriQGDHS6kAFWOkrcTpJoHNsSag9pKXyjaHzL7yeDnJVlSuU+Jf2UBth9Se0lG2H1J7SVQ7IrSu3YIY7QYJyMeJpXWPNnGqpmS2GV3fRdcSApN4IW/mwSWRklxPnIwyKkmee1q8gRc80czgYlLXcGgHFwG8AL/AGxJqD2ko2xJqD2kpqigrMn2h8B3k8bJ+JNY9M7ZfUntJS+NBZpDK5RMcuNwzR4Vzj3tjUgr7QRdWIsVukvjBnlJEsYsuGWZ0nvtjraMBJ3+MQZsXvfcl5Fw00G/2xJqD2ko2xJqD2kpqigRssjGeTEmDeo9F4N+mXkrte4/vD9FH8UtFAR/eH6KP4paapB7SFtD3hzfFH5qSP8Ail9Kg1LuivNl7qfw0DVFK7orzZe6n8NG6K82Xup/DQFt4Y+lHuamqrLZlBb4/Jl40Hip+Rv00zuivNl7qfw0DVFK7orzZe6n8NG6K82Xup/DQMPwH2VDk/iY+jX3CvD5RW4+TLwaqfw1DYMoLmY/Jl4tf9KfkH6aCxopXdFebL3U/ho3RXmy91P4aBqlLH583Sj/ABxV3dFebL3U/hpWyZQXHL5MvGj/AEp9XF+mgtKKV3RXmy91P4aN0V5svdT+GgapWXj4/wCD++OjdFebL3U/hpaTKC59Dhl8x/8ASn5Y/wBNBZ0UruivNl7qfw0borzZe6n8NA1SuU+Jf2UborzZe6n8NLZRygphcYZeDVT+Ggs6KV3RXmy91P4aN0V5svdT+GgaopXdFebL3U/ho3RXmy91P4aAyf5h6WX/ACPTVVtitoVSCso3yQ8VNwM7EHzeQimN0V5svdT+GgaopXdFebL3U/ho3RXmy91P4aAj+8P0UfxS0VHZZw08hAYb3H5yunpl5wF9doPace/RR++Ws2mVLQglRpsTRZQs0V80ceNrPO8KMRmiFAYu5U3EgC4i/SNIovncHSM0guPp0y0uuxuyiPNCyWfN487m82mHOAXB7rvOAAAPoAHJQWIrtFFArbeGPpR7mpqlbbwx9KPc1NUBRRRQeX4D7KhyfxMfRr7hUz8B9lQ5P4mPo19woGKKKKApSx+fN0o/xxU3Slj8+bpR/jioG6KKKApWXj4/4P746apWXj4/4P746BqiiigKVynxL+ymqVynxL+ygaoqqyjbLQryCOHEqwl0IXEWkANy3Y1v03DDovvvxClLLb7aSMdniUZ3Cbr783jhGIeVzHmOnV8A4CGgorPPly2AkDJZIBcBs/HpCC8NddwPwL+fDcNNRTZatocFbBemZDmMkFhKTpjx4gDcLuBeXhoNNRWbbLNtJI2jm1uUh8SzkG/SMAZMRuI9IAuJvPBXVy5bMRG5puvOEmVV0KwAv0HhGn/jTw0GjorO2fLdsJIbJ5QXMQ2NTdcGwrd+I4govvA0k8FxMliyra2mVZLEEjbCMQkDFD5RZjo0i7ALtGkNpN4oLSP7w/RR/FLRRH94foo/ilooIzaUW0PjdVvijuxELf5UvLU26MWuj7a/OpytcwDkFBDujFro+2vzo3Ri10fbX51NgHIKMA5BQIWy3x3x77HxoPnryN+dM7oxa6Ptr86nwDkFcwDkFBDujFro+2vzo3Ri10fbX51NgHIKMA5BQLvlCK477Hwc9fnUNgyhHmY99j4tfxLyD86ewDkFGAcgoId0YtdH21+dG6MWuj7a/OpsA5BRgHIKCHdGLXR9tfnStkt8eOXfY+NH4l1cX51YYByCu4ByCgg3Ri10fbX50boxa6Ptr86mwDkFGAcgoId0YtdH21+dLSW+PPoc7H5j/jXlT86fwDkFdwDkFBBujFro+2vzo3Ri10fbX51NgHIKMA5BQQ7oxa6Ptr86Wyjb4zC4EsfBz1+dP4ByCu4ByCgg3Ri1sfbX50boxa6Ptr86mwDkFGAcgoId0YtdH21+dG6MWtj7a/OpsA5BRgHIKCHdGLXR9tfnRujFrY+2vzqbAOQUYByCgh3Ri1sfbX50boxa6Ptr86mwDkFGAcgoFLNOrTuVZW3uPzSGu0y8lFOAUUH/2Q=="/>
          <p:cNvSpPr>
            <a:spLocks noChangeAspect="1" noChangeArrowheads="1"/>
          </p:cNvSpPr>
          <p:nvPr/>
        </p:nvSpPr>
        <p:spPr bwMode="auto">
          <a:xfrm>
            <a:off x="79375" y="-727075"/>
            <a:ext cx="1828800" cy="1504950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Oval 6"/>
          <p:cNvSpPr/>
          <p:nvPr/>
        </p:nvSpPr>
        <p:spPr bwMode="auto">
          <a:xfrm>
            <a:off x="8915400" y="152400"/>
            <a:ext cx="990600" cy="990600"/>
          </a:xfrm>
          <a:prstGeom prst="ellips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graphicFrame>
        <p:nvGraphicFramePr>
          <p:cNvPr id="9" name="Diagram 8"/>
          <p:cNvGraphicFramePr/>
          <p:nvPr/>
        </p:nvGraphicFramePr>
        <p:xfrm>
          <a:off x="1676400" y="1651000"/>
          <a:ext cx="6705600" cy="4470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8879775" y="480950"/>
            <a:ext cx="10668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Connexxus</a:t>
            </a:r>
            <a:endParaRPr lang="en-US" dirty="0"/>
          </a:p>
        </p:txBody>
      </p:sp>
    </p:spTree>
    <p:custDataLst>
      <p:tags r:id="rId1"/>
    </p:custDataLst>
  </p:cSld>
  <p:clrMapOvr>
    <a:masterClrMapping/>
  </p:clrMapOvr>
  <p:transition xmlns:p14="http://schemas.microsoft.com/office/powerpoint/2010/main">
    <p:cut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Rectangle 2"/>
          <p:cNvSpPr>
            <a:spLocks noGrp="1" noChangeArrowheads="1"/>
          </p:cNvSpPr>
          <p:nvPr>
            <p:ph type="title"/>
          </p:nvPr>
        </p:nvSpPr>
        <p:spPr>
          <a:xfrm>
            <a:off x="762000" y="838200"/>
            <a:ext cx="8153400" cy="304800"/>
          </a:xfrm>
        </p:spPr>
        <p:txBody>
          <a:bodyPr/>
          <a:lstStyle/>
          <a:p>
            <a:pPr lvl="1"/>
            <a:r>
              <a:rPr lang="en-US" sz="2300" dirty="0" smtClean="0"/>
              <a:t>Case Study B:  Part 3 – General Lesson (in detail)</a:t>
            </a:r>
          </a:p>
        </p:txBody>
      </p:sp>
      <p:sp>
        <p:nvSpPr>
          <p:cNvPr id="93188" name="AutoShape 4" descr="data:image/jpg;base64,/9j/4AAQSkZJRgABAQAAAQABAAD/2wCEAAkGBhQSDhQQEA8QEBQUEBkQFA4QFhEQFBAQFBwWFRUQFRQYHycqFxkjGRUTHy8iIycsLCwsFR4xQTIqNSYrLSkBCQoKBQUFDQUFDSkYEhgpKSkpKSkpKSkpKSkpKSkpKSkpKSkpKSkpKSkpKSkpKSkpKSkpKSkpKSkpKSkpKSkpKf/AABEIAMwA9wMBIgACEQEDEQH/xAAbAAACAwEBAQAAAAAAAAAAAAAABAMFBgECB//EAEkQAAIBAQMEDQkIAQMDBQEAAAECAwAEERIFEyFTBhQVIzEzUVJzkZKT0iIyQVRxsbLR0wc0QmFiY3Kis0OBoSR0dRY1NsHCCP/EABQBAQAAAAAAAAAAAAAAAAAAAAD/xAAUEQEAAAAAAAAAAAAAAAAAAAAA/9oADAMBAAIRAxEAPwD7PLaXzhRERrkViWcp5xYXABTzf+a5nJtXF3j/AE67H94foo/ilpqgUzk2ri7x/p0ZybVxd4/06booFM5Nq4u8f6dGcm1cXeP9Om6KBTOTauLvH+nRnJtXF3j/AE6booFM5Nq4u8f6dGcm1cXeP9Om6KBTOTauLvH+nRnJtXF3j/TrL5O+0FpctS5KNjwtCpkefPBlzVyFXC4LyTnI9HovOnRV3YNl1kmWV4bVFKsK4pShLZpdOluTzT1Ggdzk2ri7x/p0ZybVxd4/06rZNnNhWBLQ1tgELsUSYtcjuvnKG4CR/wDR5KnynssslnEZtFqihEq4o84cOcGjzb+HhGj86BvOTauLvH+nRnJtXF3j/TqOfL0CWiOzPMizSrijhN+J106VHpHknqqHZRsijsNjltc2IpGAcK6WdmIVUH5liBQNZybVxd4/06M5Nq4u8f6dYXYr9sAtNshslpsEtia0xCazu7iRZkYMVbzVuDBWuOm8i6qu1f8A9ARLLI0eT55bLHMIXtiuo8psWErGRpvCORew0D0UH07OTauLvH+nRnJtXF3j/TrH7LPtjsNiiVlfbUsiJIlniNzZuRQ6u7Eb2CjAgHSbxo9Ij2WfbNZLEqLcbROwUtZYmF8IYBt8e64EXjRw/kKDaZybVxd4/wBOjOTauLvH+nTQNdoFM5Nq4u8f6dGcm1cXeP8ATpuigUzk2ri7x/p0ZybVxd4/06booFM5Nq4u8f6dGcm1cXeP9Om6KBTOTauLvH+nRnJtXF3j/TpuigWs1oYuyOiqQqterFwQxYelRd5v/NFcj+8P0UfxS0UBH94foo/ilpqlY/vD9FH8UtNUBRRRQFFFFAUUUUBRRRQfJtjv/wA5yh/2Q+Gx1P8AZMdGWf8AyU3/AOqNhViefZPlDKcattUxbWSZlZBLKogVgmIDEAYXvI/Llq+H2evFPa3sVuazJbWMk0LRJNhka/FJC5YYCcR4Qw6hQfNNkf8A8Lyb/wB2nvtNfTPtY2ObcyTMqm6WAbbhN9xDxXkge1cS+0jkrxsk+zGO05Ns+TYp2s8NnZXBwCV3KBlUkkgaS7k6NJPopj/0VO00882UM7JLYmsKnMIiQxu2JmCB/KY/meTkuoEfs0tj5QUZXnW5mgWxwryLHcbTLcDozk4YfxiWtXsgyLBarM0FrQPCbnZWZox5BxAllIIAIv4fRSOwfYtudYlsYmz6ozFHKCMgOS5U3E3+UW06OGvOz/ItoteTZrLZJEiklATHIWVc2SM4pKgnSt44PTQfKNg9lGU9kBtkCFLFk6IQ2cHEd7jVo7OgLabz5chvvI4Dw18/yd/7Ba//ACFl+C019m+znYRlbJ7xwSTZP2mHd5o4gxlkLKbjiMYvN+AcPAt1Ze0fYdlBBNYoJrIbJLaUnz0hkEqiISKgKheG6Q3gX3kDSNNAl9p2S4l2O5JtCwxrK8MKvMqqHdRZxcGYC9rsK3X8F1TfbrkyJLPk2ZIY0kkRs5KiqrS3JBdjYDyrrzw8tbn7QvsymteS7HYbJJENq4VxTlkxIkebB8lW0nQaj+077NrTlGz2KKzvZ1azKwcys6gkrGow4UN+lDw3eig+lrwV2uCu0BRRRQFFFFAUUUUBRRRQKx/eH6KP4paKI/vD9FH8UtFBE8xW0PdG771HpUxi7ypecwqXbjery9cHjoRv+ofoo/ilpLZRY89Y5IlMt7YQDCY8YuZTiukIV1F17KfOUMum+6gd22/q8vXB46NuN6vL1weOvncOxm1XPnLLGpkzUxWJohEjR2aeJogpbyTnGW4C8DH51wJGm2FZJls2ejm0qrJFBKSpaSzIt8eO4+egbNknhzd/poL7bjery9cHjo243q8vXB46ZxjlFUmzHJW2rC9mUm+Ro1xIQGjGcQmUEkaVALcuigstuN6vL1weOjbjery9cHjr53FsZtmcd7TDtgSSvJLEjxYZJpbJCiugZh5CTCdBfcRjVrvSHtj2xy1w2yB5TnUJU2h2dTdaYbKIBaUBN5Ehd1bRffGhu0mg223G9Xl64PHRtxvV5euDx0xjHKK7jHKKBbbbery9cHjo22/q8vXB46zuXtjQmyhFKIUZTZ5xLKSuic7W2uTeb9Gae64XDTzjfl//AEraTHZcVlJzUMEMqE2aQsYbLaonNzOAymWWIAk+jFoABoPpW3G9Xl64PHRtxvV5euDx1NEwwjgGgaL77vyvr3jHKKBbbjery9cHjo22/q8vXB46yez3Y5NaZFay6C9knsssiuEZL83PAwvIv32HBo9ExqqtOxm0GYytZsRlsV7qu12CWyV7TK6B2cFcBmj8pb8QQLwUH0Hbjery9cHjo243q8vXB46zmwTJMsAkzq5lGis6LAWVrpo4gs81ykhcTYRoOnNk+nTrMY5RQLbcb1eXrg8dG239Xl64PHXu1QJIhjkCurC5kPAw5DyivmE2wu07TjWODNynJ1viluaC9rRNm1gQnHdeVQjEOD0kUH0zbjery9cHjo243q8vXB46yWxzIU0dsxPFgRbRaZw+KMqUnWEIoAN+IYXBF1wwfmL9tjHKKBbbjery9cHjo22/q8vXB46YxjlFfPdkWxSeaXKEixK2cezmAERFnwizrI6uXGFQElBQ3Yr7+Sg3W3G9Xl64PHRtxvV5euDx1kth+RZ4bYzzxYFFmkhxhozGzm1TyjNqGJSMxyIVU+aLlvJWtrjHKKBfbjery9cHjo243q8vXB46ZxjlFZjZ3k2SeFBAhkdHMixnNtDI2BkzVoVmXyGDsMS6UNzeigvttt6vL1weOjbjery9cHjr59lLY5aZXtDtZseeezWlAXibMyJaFE0VzPdi2qkIJGgiMjhYg/RbNCkaLGgCqihFUcCqouAH+1AvZZS08l6Mm9x6GwG/TLzWNFSRH/qH6KP4paKCM2ZGtD40Rroo/OUNd5UvLU250Wpj7C/KvMf3h+ij+KWmqBfc6LUx9hflRudFqY+wvypiigrrZk+O+Peo+NH4F5G/KmdzotTH2F+Vebbwx9KPc1NUC+50Wpj7C/Kjc6LUx9hflTFFAq+TorjvMXBzF+VQ2DJ8eZj3qPi1/AvIPyp5+A+yocn8TH0a+4UBudFqY+wvyo3Oi1MfYX5UxRQL7nRamPsL8qVsmT48cu9R8aPwLq4vyqypSx+fN0o/xxUHvc6LUx9hflRudFqY+wvypiigX3Oi1MfYX5UtJk+PPoM1H5j/AIF5Y/yqxpWXj4/4P746D1udFqY+wvyo3Oi1MfYX5UxRQL7nRamPsL8qWyjk+MQvvUfBzF+VWNK5T4l/ZQLSmBbQlnMK45EaRd6GHCmENe911/lDRw03udFqY+wvypa15NdrXDOsiKsSupjKMzPnMN5DhgFuwj8J9NWNAvudFqY+wvyrm50Wpj7C/KmaKCpgssawu+11kIkluREjLNdI9yi+4dZAr3kzMzxCRYFXynQo6IGSSNmjdDdeLwysLwSDdoJFdzLvZpEhlEMjPKFlK5zAxkfysN4vu9tS5GsBhgWIlDhvF8augN5JvON3JY33lixJJJ9NBLudFqY+wvyo3Oi1MfYX5UxRQJWaBVncIqrvUfmgLfpl5KK9x/eH6KP4paKAj+8P0UfxS01Ve9mDWhyS4uiTzXkT8UvoUi+oMmzQzhs29ovRgrJI1rhdSQGF6SEG4ggg3XUFvRSu5y86XvZ/FRucvOl72fxUBbeGPpR7mpqqy2ZPW+PypeNA42fkb9Vcvhz+1s7Jnc0Zs3nbReIwQuI+Vo0kDTw6eQ0FpRSu5y86XvZ/FRucvOl72fxUDD8B9lQ5P4mPo19wrw+TluPlS8Gtn8VVrSwwwQmRrR5YVFWM2yZmbAXICR4j5qseD0UF7RSi5PUi/FN/vLOP+MVd3OXnS97P4qBqlLH583Sj/HFXdzl50vez+KkM1HGJ5JJJFRJLyxln0DNxcjaT/wA0FzRSFmsySIHU2gAi8B3tUTf7o5BH+4qXc5edL3s/ioGqVl4+P+D++Ojc5edL3s/ipaTJ655Bil8x/wDVn5Y/1UFnRVPHaIWtG18VqElzMA+3UVlQqGZZGuVgC68BPnCntzl50vez+KgapXKfEv7KNzl50vez+Klso5PUQucUvBrZ/FQWdFU9qtMEcqxPLMHbDoD2pgucYpHjcG5MTgquIi8i4U9ucvOl72fxUDVcpbc5edL3s/io3OXnS97P4qAyd5h6WX/I9NVTJHFFA8skkqqskhLZ2c6BI40ANeSdAuGkk1PYFimjzkbzFbyumS0oyspKsrKzAqQQRcRQWVFK7nLzpe9n8VG5y86XvZ/FQEf3h+ij+KWio7LAFnkALHe4/OZ39MvOJurtB6Xj5LuHNJdfy3y0lkDJskbTySiNDNKJc1E7zKpwqrNnHVSSSOC64AC7009H94foo/ilpqgKKKKBW28MfSj3NVbZ9jWC37aWWQqyTY43IN8kpgII8m/CFhu0nRhQDQKsrbwx9KPc1NUBRRRQeX4D7KoMsZJe0WKJI0jZwgKSSSSwmBzGUEyNGpJYYjovF950ir9+A+yocn8TH0a+4UEsSkKATiIABY6MRHpr3RRQFUeVcmG0Q2iJSt+fjkAYsqsYhZ5QjFdIDYMJI0gG/TV5Slj8+bpR/jioIcgWB4bOI5CCcbsFVmdY0d2dIVZgCyopCgkDzeADQLGiigKVl4+P+D++OmqVl4+P+D++OghsuTmFpltEhUllWKIC/e4VGI33/iaRmJu9Cx8lWFFFAUrlPiX9lNUrlPiX9lBTZY2OSS22O0KUAXM3MWdWjzUrSSDNgXTB1KqMZGAriGmtHRRQFFFFBVS2ITWWWIqHxPLcpZovLEjlTnFBKEMAcQBIuvr1seyU0EJV2xO8rzOcTP5TknDiYAtcMIvuF919w4Azk7zD0sv+R6aoCiiigVj+8P0UfxS0UR/eH6KP4paKCJoS1oe6R03qPQojN/lS85TUu1G18vVD4KE49+ij+KWsFbYGay3CK1OBugIQ8dqZ1tkkoexS+WMQOAvhkOhb+EGg3u1G18vVD4KNqNr5eqHwUyvBprtBWWyytfHv8vGj0Q8jfopnaja+Xqh8FFt4Y+lHuaqdyBb7ViFpwtYogWUWrDiUzYhEyi4NhePRGcRJ5RQXG1G18vVD4KNqNr5eqHwUpsVJ3PswYOrCzRqyyK6OHVQrBlYAg3g8NWtAo9ka47/LwckPgqGwWVszHv8ALxa+iHkH6KffgPsrPZe+4QECYkTWV7oRM5uWSJnLLECSuAOSCLtHsoLnaja+Xqh8FG1G18vVD4KpMlopynM6QyQ4Y2jYmKZBanLIzTNIVwsFuCppJ8qT8N1+loFdqNr5eqHwUrZLK2Obf5eNHoh1cX6KtKrZLsFpxY7sRvzecx3ZqPzc35V/8dNAxtRtfL1Q+Cjaja+Xqh8FZGzw4hkwiGXPpHCJC0FoSQRqjKwM7ACNVbGWQ6X8kaL1v3FArtRtfL1Q+ClpLK2fTf5fMf0Q8sf6Ks6Vl4+P+D++OgNqNr5eqHwUbUbXy9UPgrP2mKZrZa0s+cUvHZ/LlNpjjuUy55YZSrBWwsnmaAWvuvvqz2IxOuTrMsqlHWzorIS5KkKBccQBvuuvvHDfw8NA7tRtfL1Q+Clso2Vsy+/y8HJD4Ks6VynxL+ygNqNr5eqHwUbUbXy9UPgqpyyP+vg4+42edGZFndFxBMN4UFQ2hrr9Po9NR7BYM3Z3jCAIkgRJhDJZWtCiOO+V45NOLFiUn04KC62o2vl6ofBRtRtfL1Q+CmqKCssFlbAd/l42T0Q6x/0UztRtfL1Q+CoobsxJixXY5r8GPFdjkvw4PKvu4MOnk01jbAJg1gYxO+CyWSNY54J2Ky42jtjlzdmZEQI2JxewW4X3m8NvtRtfL1Q+Cjaja+Xqh8FNUUCNliKzyXuz73HpbALtMvNArte4/vD9FH8UtFAR/eH6KP4paapBse2HwYOKjvxYudLyVLv37X96Bqild+/a/vRv37X96AtvDH0o9zU1VbbM7fHxXGjn8jUxv37X96Bqild+/a/vRv37X96Bh+A+yocn8TH0a+4V4fO3HiuD9dQ2DO5mPiuLXn8goLGild+/a/vRv37X96BqlLH583Sj/HFXd+/a/vS1kzuObiuNHP1cVBZ0Urvv7X96N+/a/vQNUrLx8f8AB/fHRv37X96XlzufTivMfn8sdBZUUrv37X96N+/a/vQNUrlPiX9lG/ftf3pfKOdzL8VwfroLKild+/a/vRv37X96Bqild+/a/vRv37X96Ayf5h6WX/I9NVWZPzuA8VxsnP1j0zvv7X96Bqild+/a/vRv37X96Aj+8P0UfxS0VHZcWfkx4eKjuw38svLXaD2nHv0UfxS1lpbbJJY2C2yQzm3TWWF4jEuJzI6pjUKb1jjUuRw4YzWpj+8P0UfxS1LFZEXzY0XTi8lVGm66/R6btFB7QXAC8m4XXm68/mbq9UUUCtt4Y+lHuas3l/K8iS2tEtAF0FkMaEoubaaaSJ/KuJQMAgLkHBeGuN1x0lt4Y+lHuapGsaEsTGhLLhYlVJZToKk+kXAaPyoK3Ypa2ksitIzMwkljJYqxGblkQJjGh8IULi/Fhv8ATVxXmOMKoVQFAFwVQAABwAAcAr1QeX4D7KosrWxorHZ3WbNb/ZUYnB5cbyRI8flcF6s3Bp0VevwH2UrZbOrwRh0Vxm1NzAML8N19x9poKLI1un3RkhlZ2GCaRhigeNFEqLZcAQ4o74i4IcC9ozdfcTWpqOOBVLFVVSxxMVABZuC83cJqSgKqLbaESK0vLM0CBwWlQgMowQ6F0HSeAAC8k6NN1W9JWeIM0ysoYGUXqwBB3uLhBoMfZMrziWIPaWLA2YLBihfOx2iedJBIUG+OkKLeVNwaFjwE372oEsUYKlY4wUvCkKowBvOC6NF/puqegKVl4+P+D++OmqVl4+P+D++OgzNuykwktpgtrYYrNIWLtC4jtS3FViUjQEW9WvvF7qNLK12oyfNjhje8NijVsQuN5IGnRQbBHexzUd7C5jhW9hw3E3adIHVU0cYUBVAUDQFAAAHIAKD1SuU+Jf2U1SuU+Jf2UFRlu2XW2COO0sj3h5IS0YjFm8oM7qwvLMblW433reNCvXvYjazJHK4naeIzbw8jI7mLAl7EqB5LOJGW/ThYcAIAuJLIjMGaNGYcDMqkj06CeCuwWVEvCIiXm8hFC3nlN1BLRRRQVjzKllleSUwopmLTAgGNQ8l7gkG672Vm0yhIIrLIbW+I2tUzbSQs+1pZykayRBd8coVQ6QU0t5RU4tZYkBjYMAQZZQQdIIzj6CK9pk+JSpWKMFb8JCqCuLhwm7Rf+VAxRRRQKx/eH6KP4paKI/vD9FH8UtFBE0rC0PhjL71HpvUXeVLy1Ltl9Se0leWYCWQsbgIUJOkXC+a81hJbfM1ikksUkkkJnzoAtDPPCiiERxMzksodhJIy33gMF0XtcG92xJqD2ko2xJqD2kpkV2grbZaHvj3k8aPxJyNTG2X1J7SUW3hj6Ue5qymW7Sj2u0Rx202ZkszJK0k8qrnHERQpFjGBUQEl0w8Zwk47g1e2H1J7SUbYk1B7SUnsVtOOyI1x8+RQxklnEgV3USrJISzIwAYXngYXXi41bUCj2h7jvJ4OclQ2C0PmY95PFr+JOQU+/AfZWW2U2pFsESGVoZJFCQyiWSzrHKU46RlIBVBe2Fr7yAACSKDQ7Yk1J7SUbYk1B7SVnNjmUXa3zLI2cLGYkB5f+njilVYFaInCokiZXVgAThY+VebtbQK7Yk1B7SUtZLQ+ObeTxo/Emriqzqkynao44LU85cRhxizbPG58iEBVZSCCSQOEDTpIF9BY7ZfUntJRtiTUHtJWXyVAZGsaraJZGVTPLLFaJ5IhCjMI7OSGwynGwTEwJZYHv03VsqBXbEmoPaSl5LQ+fTeT5j/iTljqypWXj4/4P746A2y+pPaSjbEmpPaSsTlnKKma0Zi0sgWSOKVJJ5rjJn487IVxXwQKt8ZZbgc4dFygnVbFJmawws5ctg0s5LFriQGDHS6kAFWOkrcTpJoHNsSag9pKXyjaHzL7yeDnJVlSuU+Jf2UBth9Se0lG2H1J7SVQ7IrSu3YIY7QYJyMeJpXWPNnGqpmS2GV3fRdcSApN4IW/mwSWRklxPnIwyKkmee1q8gRc80czgYlLXcGgHFwG8AL/AGxJqD2ko2xJqD2kpqigrMn2h8B3k8bJ+JNY9M7ZfUntJS+NBZpDK5RMcuNwzR4Vzj3tjUgr7QRdWIsVukvjBnlJEsYsuGWZ0nvtjraMBJ3+MQZsXvfcl5Fw00G/2xJqD2ko2xJqD2kpqigRssjGeTEmDeo9F4N+mXkrte4/vD9FH8UtFAR/eH6KP4paapB7SFtD3hzfFH5qSP8Ail9Kg1LuivNl7qfw0DVFK7orzZe6n8NG6K82Xup/DQFt4Y+lHuamqrLZlBb4/Jl40Hip+Rv00zuivNl7qfw0DVFK7orzZe6n8NG6K82Xup/DQMPwH2VDk/iY+jX3CvD5RW4+TLwaqfw1DYMoLmY/Jl4tf9KfkH6aCxopXdFebL3U/ho3RXmy91P4aBqlLH583Sj/ABxV3dFebL3U/hpWyZQXHL5MvGj/AEp9XF+mgtKKV3RXmy91P4aN0V5svdT+GgapWXj4/wCD++OjdFebL3U/hpaTKC59Dhl8x/8ASn5Y/wBNBZ0UruivNl7qfw0borzZe6n8NA1SuU+Jf2UborzZe6n8NLZRygphcYZeDVT+Ggs6KV3RXmy91P4aN0V5svdT+GgaopXdFebL3U/ho3RXmy91P4aAyf5h6WX/ACPTVVtitoVSCso3yQ8VNwM7EHzeQimN0V5svdT+GgaopXdFebL3U/ho3RXmy91P4aAj+8P0UfxS0VHZZw08hAYb3H5yunpl5wF9doPace/RR++Ws2mVLQglRpsTRZQs0V80ceNrPO8KMRmiFAYu5U3EgC4i/SNIovncHSM0guPp0y0uuxuyiPNCyWfN487m82mHOAXB7rvOAAAPoAHJQWIrtFFArbeGPpR7mpqlbbwx9KPc1NUBRRRQeX4D7KhyfxMfRr7hUz8B9lQ5P4mPo19woGKKKKApSx+fN0o/xxU3Slj8+bpR/jioG6KKKApWXj4/4P746apWXj4/4P746BqiiigKVynxL+ymqVynxL+ygaoqqyjbLQryCOHEqwl0IXEWkANy3Y1v03DDovvvxClLLb7aSMdniUZ3Cbr783jhGIeVzHmOnV8A4CGgorPPly2AkDJZIBcBs/HpCC8NddwPwL+fDcNNRTZatocFbBemZDmMkFhKTpjx4gDcLuBeXhoNNRWbbLNtJI2jm1uUh8SzkG/SMAZMRuI9IAuJvPBXVy5bMRG5puvOEmVV0KwAv0HhGn/jTw0GjorO2fLdsJIbJ5QXMQ2NTdcGwrd+I4govvA0k8FxMliyra2mVZLEEjbCMQkDFD5RZjo0i7ALtGkNpN4oLSP7w/RR/FLRRH94foo/ilooIzaUW0PjdVvijuxELf5UvLU26MWuj7a/OpytcwDkFBDujFro+2vzo3Ri10fbX51NgHIKMA5BQIWy3x3x77HxoPnryN+dM7oxa6Ptr86nwDkFcwDkFBDujFro+2vzo3Ri10fbX51NgHIKMA5BQLvlCK477Hwc9fnUNgyhHmY99j4tfxLyD86ewDkFGAcgoId0YtdH21+dG6MWuj7a/OpsA5BRgHIKCHdGLXR9tfnStkt8eOXfY+NH4l1cX51YYByCu4ByCgg3Ri10fbX50boxa6Ptr86mwDkFGAcgoId0YtdH21+dLSW+PPoc7H5j/jXlT86fwDkFdwDkFBBujFro+2vzo3Ri10fbX51NgHIKMA5BQQ7oxa6Ptr86Wyjb4zC4EsfBz1+dP4ByCu4ByCgg3Ri1sfbX50boxa6Ptr86mwDkFGAcgoId0YtdH21+dG6MWtj7a/OpsA5BRgHIKCHdGLXR9tfnRujFrY+2vzqbAOQUYByCgh3Ri1sfbX50boxa6Ptr86mwDkFGAcgoFLNOrTuVZW3uPzSGu0y8lFOAUUH/2Q=="/>
          <p:cNvSpPr>
            <a:spLocks noChangeAspect="1" noChangeArrowheads="1"/>
          </p:cNvSpPr>
          <p:nvPr/>
        </p:nvSpPr>
        <p:spPr bwMode="auto">
          <a:xfrm>
            <a:off x="79375" y="-727075"/>
            <a:ext cx="1828800" cy="1504950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Oval 6"/>
          <p:cNvSpPr/>
          <p:nvPr/>
        </p:nvSpPr>
        <p:spPr bwMode="auto">
          <a:xfrm>
            <a:off x="8915400" y="152400"/>
            <a:ext cx="990600" cy="990600"/>
          </a:xfrm>
          <a:prstGeom prst="ellips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6553200" y="3581400"/>
            <a:ext cx="2897642" cy="3477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5425" indent="-225425">
              <a:buClr>
                <a:schemeClr val="bg2"/>
              </a:buClr>
              <a:buFont typeface="Wingdings" pitchFamily="2" charset="2"/>
              <a:buChar char="§"/>
            </a:pPr>
            <a:r>
              <a:rPr lang="en-US" sz="2000" b="1" dirty="0" smtClean="0">
                <a:solidFill>
                  <a:schemeClr val="accent1"/>
                </a:solidFill>
                <a:sym typeface="Wingdings" pitchFamily="2" charset="2"/>
              </a:rPr>
              <a:t>The times, they are</a:t>
            </a:r>
          </a:p>
          <a:p>
            <a:pPr marL="225425" indent="-225425">
              <a:buClr>
                <a:schemeClr val="bg2"/>
              </a:buClr>
            </a:pPr>
            <a:r>
              <a:rPr lang="en-US" sz="2000" b="1" dirty="0" smtClean="0">
                <a:solidFill>
                  <a:schemeClr val="accent1"/>
                </a:solidFill>
                <a:sym typeface="Wingdings" pitchFamily="2" charset="2"/>
              </a:rPr>
              <a:t>	a-</a:t>
            </a:r>
            <a:r>
              <a:rPr lang="en-US" sz="2000" b="1" dirty="0" err="1" smtClean="0">
                <a:solidFill>
                  <a:schemeClr val="accent1"/>
                </a:solidFill>
                <a:sym typeface="Wingdings" pitchFamily="2" charset="2"/>
              </a:rPr>
              <a:t>changin</a:t>
            </a:r>
            <a:r>
              <a:rPr lang="en-US" sz="2000" b="1" dirty="0" smtClean="0">
                <a:solidFill>
                  <a:schemeClr val="accent1"/>
                </a:solidFill>
                <a:sym typeface="Wingdings" pitchFamily="2" charset="2"/>
              </a:rPr>
              <a:t>’… </a:t>
            </a:r>
          </a:p>
          <a:p>
            <a:pPr marL="225425" indent="-225425">
              <a:buClr>
                <a:schemeClr val="bg2"/>
              </a:buClr>
              <a:buFont typeface="Wingdings" pitchFamily="2" charset="2"/>
              <a:buChar char="§"/>
            </a:pPr>
            <a:endParaRPr lang="en-US" sz="2000" b="1" dirty="0" smtClean="0">
              <a:solidFill>
                <a:schemeClr val="accent1"/>
              </a:solidFill>
              <a:sym typeface="Wingdings" pitchFamily="2" charset="2"/>
            </a:endParaRPr>
          </a:p>
          <a:p>
            <a:pPr marL="225425" indent="-225425">
              <a:buClr>
                <a:schemeClr val="bg2"/>
              </a:buClr>
              <a:buFont typeface="Wingdings" pitchFamily="2" charset="2"/>
              <a:buChar char="§"/>
            </a:pPr>
            <a:r>
              <a:rPr lang="en-US" sz="2000" b="1" dirty="0" smtClean="0">
                <a:solidFill>
                  <a:schemeClr val="accent1"/>
                </a:solidFill>
                <a:sym typeface="Wingdings" pitchFamily="2" charset="2"/>
              </a:rPr>
              <a:t>We now have more ability to drive common solutions than ever before, thanks to Regents’ Policy 5100, which was adopted in July 2010 </a:t>
            </a:r>
            <a:endParaRPr lang="en-US" sz="2000" b="1" dirty="0">
              <a:solidFill>
                <a:schemeClr val="accent1"/>
              </a:solidFill>
              <a:sym typeface="Wingdings" pitchFamily="2" charset="2"/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8879775" y="480950"/>
            <a:ext cx="10668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Connexxus</a:t>
            </a:r>
            <a:endParaRPr lang="en-US" dirty="0"/>
          </a:p>
        </p:txBody>
      </p:sp>
      <p:sp>
        <p:nvSpPr>
          <p:cNvPr id="61" name="Rectangle 60"/>
          <p:cNvSpPr>
            <a:spLocks noChangeArrowheads="1"/>
          </p:cNvSpPr>
          <p:nvPr/>
        </p:nvSpPr>
        <p:spPr bwMode="gray">
          <a:xfrm>
            <a:off x="5565325" y="2899118"/>
            <a:ext cx="38100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9" tIns="36571" rIns="36571" bIns="36571"/>
          <a:lstStyle/>
          <a:p>
            <a:pPr marL="458788" lvl="3" indent="-457200" defTabSz="1019175" eaLnBrk="0" hangingPunct="0">
              <a:buClr>
                <a:schemeClr val="folHlink"/>
              </a:buClr>
              <a:buSzPct val="125000"/>
            </a:pPr>
            <a:r>
              <a:rPr lang="en-US" sz="800" u="sng" dirty="0" smtClean="0">
                <a:hlinkClick r:id="rId4"/>
              </a:rPr>
              <a:t>http://www.universityofcalifornia.edu/regents/policies/5100.html</a:t>
            </a:r>
            <a:endParaRPr lang="en-US" sz="800" u="sng" dirty="0" smtClean="0"/>
          </a:p>
          <a:p>
            <a:pPr marL="1373188" lvl="3" indent="-457200" defTabSz="1019175" eaLnBrk="0" hangingPunct="0">
              <a:buClr>
                <a:schemeClr val="folHlink"/>
              </a:buClr>
              <a:buSzPct val="125000"/>
              <a:buFont typeface="Wingdings" pitchFamily="2" charset="2"/>
              <a:buChar char="§"/>
            </a:pPr>
            <a:endParaRPr lang="en-US" sz="800" u="sng" dirty="0" smtClean="0"/>
          </a:p>
          <a:p>
            <a:pPr marL="1373188" lvl="3" indent="-457200" defTabSz="1019175" eaLnBrk="0" hangingPunct="0">
              <a:buClr>
                <a:schemeClr val="folHlink"/>
              </a:buClr>
              <a:buSzPct val="125000"/>
              <a:buFont typeface="Wingdings" pitchFamily="2" charset="2"/>
              <a:buChar char="§"/>
            </a:pPr>
            <a:endParaRPr lang="en-US" sz="800" dirty="0" smtClean="0"/>
          </a:p>
        </p:txBody>
      </p:sp>
      <p:pic>
        <p:nvPicPr>
          <p:cNvPr id="62" name="Picture 61"/>
          <p:cNvPicPr/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38200" y="1331025"/>
            <a:ext cx="4727964" cy="6126675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</p:pic>
      <p:pic>
        <p:nvPicPr>
          <p:cNvPr id="63" name="Picture 62"/>
          <p:cNvPicPr/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584375" y="1331025"/>
            <a:ext cx="3528206" cy="1568092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</p:pic>
      <p:sp>
        <p:nvSpPr>
          <p:cNvPr id="10" name="Oval 9"/>
          <p:cNvSpPr/>
          <p:nvPr/>
        </p:nvSpPr>
        <p:spPr bwMode="auto">
          <a:xfrm>
            <a:off x="1914899" y="5227833"/>
            <a:ext cx="3876301" cy="787017"/>
          </a:xfrm>
          <a:prstGeom prst="ellipse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</p:spTree>
    <p:custDataLst>
      <p:tags r:id="rId1"/>
    </p:custDataLst>
  </p:cSld>
  <p:clrMapOvr>
    <a:masterClrMapping/>
  </p:clrMapOvr>
  <p:transition xmlns:p14="http://schemas.microsoft.com/office/powerpoint/2010/main">
    <p:cut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Rectangle 2"/>
          <p:cNvSpPr>
            <a:spLocks noGrp="1" noChangeArrowheads="1"/>
          </p:cNvSpPr>
          <p:nvPr>
            <p:ph type="title"/>
          </p:nvPr>
        </p:nvSpPr>
        <p:spPr>
          <a:xfrm>
            <a:off x="762000" y="838200"/>
            <a:ext cx="8153400" cy="304800"/>
          </a:xfrm>
        </p:spPr>
        <p:txBody>
          <a:bodyPr/>
          <a:lstStyle/>
          <a:p>
            <a:pPr lvl="1"/>
            <a:r>
              <a:rPr lang="en-US" sz="2300" dirty="0" smtClean="0"/>
              <a:t>Case Study B:  Part 3 – Technical Lesson (in detail)</a:t>
            </a:r>
          </a:p>
        </p:txBody>
      </p:sp>
      <p:sp>
        <p:nvSpPr>
          <p:cNvPr id="93188" name="AutoShape 4" descr="data:image/jpg;base64,/9j/4AAQSkZJRgABAQAAAQABAAD/2wCEAAkGBhQSDhQQEA8QEBQUEBkQFA4QFhEQFBAQFBwWFRUQFRQYHycqFxkjGRUTHy8iIycsLCwsFR4xQTIqNSYrLSkBCQoKBQUFDQUFDSkYEhgpKSkpKSkpKSkpKSkpKSkpKSkpKSkpKSkpKSkpKSkpKSkpKSkpKSkpKSkpKSkpKSkpKf/AABEIAMwA9wMBIgACEQEDEQH/xAAbAAACAwEBAQAAAAAAAAAAAAAABAMFBgECB//EAEkQAAIBAQMEDQkIAQMDBQEAAAECAwAEERIFEyFTBhQVIzEzUVJzkZKT0iIyQVRxsbLR0wc0QmFiY3Kis0OBoSR0dRY1NsHCCP/EABQBAQAAAAAAAAAAAAAAAAAAAAD/xAAUEQEAAAAAAAAAAAAAAAAAAAAA/9oADAMBAAIRAxEAPwD7PLaXzhRERrkViWcp5xYXABTzf+a5nJtXF3j/AE67H94foo/ilpqgUzk2ri7x/p0ZybVxd4/06booFM5Nq4u8f6dGcm1cXeP9Om6KBTOTauLvH+nRnJtXF3j/AE6booFM5Nq4u8f6dGcm1cXeP9Om6KBTOTauLvH+nRnJtXF3j/TrL5O+0FpctS5KNjwtCpkefPBlzVyFXC4LyTnI9HovOnRV3YNl1kmWV4bVFKsK4pShLZpdOluTzT1Ggdzk2ri7x/p0ZybVxd4/06rZNnNhWBLQ1tgELsUSYtcjuvnKG4CR/wDR5KnynssslnEZtFqihEq4o84cOcGjzb+HhGj86BvOTauLvH+nRnJtXF3j/TqOfL0CWiOzPMizSrijhN+J106VHpHknqqHZRsijsNjltc2IpGAcK6WdmIVUH5liBQNZybVxd4/06M5Nq4u8f6dYXYr9sAtNshslpsEtia0xCazu7iRZkYMVbzVuDBWuOm8i6qu1f8A9ARLLI0eT55bLHMIXtiuo8psWErGRpvCORew0D0UH07OTauLvH+nRnJtXF3j/TrH7LPtjsNiiVlfbUsiJIlniNzZuRQ6u7Eb2CjAgHSbxo9Ij2WfbNZLEqLcbROwUtZYmF8IYBt8e64EXjRw/kKDaZybVxd4/wBOjOTauLvH+nTQNdoFM5Nq4u8f6dGcm1cXeP8ATpuigUzk2ri7x/p0ZybVxd4/06booFM5Nq4u8f6dGcm1cXeP9Om6KBTOTauLvH+nRnJtXF3j/TpuigWs1oYuyOiqQqterFwQxYelRd5v/NFcj+8P0UfxS0UBH94foo/ilpqlY/vD9FH8UtNUBRRRQFFFFAUUUUBRRRQfJtjv/wA5yh/2Q+Gx1P8AZMdGWf8AyU3/AOqNhViefZPlDKcattUxbWSZlZBLKogVgmIDEAYXvI/Llq+H2evFPa3sVuazJbWMk0LRJNhka/FJC5YYCcR4Qw6hQfNNkf8A8Lyb/wB2nvtNfTPtY2ObcyTMqm6WAbbhN9xDxXkge1cS+0jkrxsk+zGO05Ns+TYp2s8NnZXBwCV3KBlUkkgaS7k6NJPopj/0VO00882UM7JLYmsKnMIiQxu2JmCB/KY/meTkuoEfs0tj5QUZXnW5mgWxwryLHcbTLcDozk4YfxiWtXsgyLBarM0FrQPCbnZWZox5BxAllIIAIv4fRSOwfYtudYlsYmz6ozFHKCMgOS5U3E3+UW06OGvOz/ItoteTZrLZJEiklATHIWVc2SM4pKgnSt44PTQfKNg9lGU9kBtkCFLFk6IQ2cHEd7jVo7OgLabz5chvvI4Dw18/yd/7Ba//ACFl+C019m+znYRlbJ7xwSTZP2mHd5o4gxlkLKbjiMYvN+AcPAt1Ze0fYdlBBNYoJrIbJLaUnz0hkEqiISKgKheG6Q3gX3kDSNNAl9p2S4l2O5JtCwxrK8MKvMqqHdRZxcGYC9rsK3X8F1TfbrkyJLPk2ZIY0kkRs5KiqrS3JBdjYDyrrzw8tbn7QvsymteS7HYbJJENq4VxTlkxIkebB8lW0nQaj+077NrTlGz2KKzvZ1azKwcys6gkrGow4UN+lDw3eig+lrwV2uCu0BRRRQFFFFAUUUUBRRRQKx/eH6KP4paKI/vD9FH8UtFBE8xW0PdG771HpUxi7ypecwqXbjery9cHjoRv+ofoo/ilpLZRY89Y5IlMt7YQDCY8YuZTiukIV1F17KfOUMum+6gd22/q8vXB46NuN6vL1weOvncOxm1XPnLLGpkzUxWJohEjR2aeJogpbyTnGW4C8DH51wJGm2FZJls2ejm0qrJFBKSpaSzIt8eO4+egbNknhzd/poL7bjery9cHjo243q8vXB46ZxjlFUmzHJW2rC9mUm+Ro1xIQGjGcQmUEkaVALcuigstuN6vL1weOjbjery9cHjr53FsZtmcd7TDtgSSvJLEjxYZJpbJCiugZh5CTCdBfcRjVrvSHtj2xy1w2yB5TnUJU2h2dTdaYbKIBaUBN5Ehd1bRffGhu0mg223G9Xl64PHRtxvV5euDx0xjHKK7jHKKBbbbery9cHjo22/q8vXB46zuXtjQmyhFKIUZTZ5xLKSuic7W2uTeb9Gae64XDTzjfl//AEraTHZcVlJzUMEMqE2aQsYbLaonNzOAymWWIAk+jFoABoPpW3G9Xl64PHRtxvV5euDx1NEwwjgGgaL77vyvr3jHKKBbbjery9cHjo22/q8vXB46yez3Y5NaZFay6C9knsssiuEZL83PAwvIv32HBo9ExqqtOxm0GYytZsRlsV7qu12CWyV7TK6B2cFcBmj8pb8QQLwUH0Hbjery9cHjo243q8vXB46zmwTJMsAkzq5lGis6LAWVrpo4gs81ykhcTYRoOnNk+nTrMY5RQLbcb1eXrg8dG239Xl64PHXu1QJIhjkCurC5kPAw5DyivmE2wu07TjWODNynJ1viluaC9rRNm1gQnHdeVQjEOD0kUH0zbjery9cHjo243q8vXB46yWxzIU0dsxPFgRbRaZw+KMqUnWEIoAN+IYXBF1wwfmL9tjHKKBbbjery9cHjo22/q8vXB46YxjlFfPdkWxSeaXKEixK2cezmAERFnwizrI6uXGFQElBQ3Yr7+Sg3W3G9Xl64PHRtxvV5euDx1kth+RZ4bYzzxYFFmkhxhozGzm1TyjNqGJSMxyIVU+aLlvJWtrjHKKBfbjery9cHjo243q8vXB46ZxjlFZjZ3k2SeFBAhkdHMixnNtDI2BkzVoVmXyGDsMS6UNzeigvttt6vL1weOjbjery9cHjr59lLY5aZXtDtZseeezWlAXibMyJaFE0VzPdi2qkIJGgiMjhYg/RbNCkaLGgCqihFUcCqouAH+1AvZZS08l6Mm9x6GwG/TLzWNFSRH/qH6KP4paKCM2ZGtD40Rroo/OUNd5UvLU250Wpj7C/KvMf3h+ij+KWmqBfc6LUx9hflRudFqY+wvypiigrrZk+O+Peo+NH4F5G/KmdzotTH2F+Vebbwx9KPc1NUC+50Wpj7C/Kjc6LUx9hflTFFAq+TorjvMXBzF+VQ2DJ8eZj3qPi1/AvIPyp5+A+yocn8TH0a+4UBudFqY+wvyo3Oi1MfYX5UxRQL7nRamPsL8qVsmT48cu9R8aPwLq4vyqypSx+fN0o/xxUHvc6LUx9hflRudFqY+wvypiigX3Oi1MfYX5UtJk+PPoM1H5j/AIF5Y/yqxpWXj4/4P746D1udFqY+wvyo3Oi1MfYX5UxRQL7nRamPsL8qWyjk+MQvvUfBzF+VWNK5T4l/ZQLSmBbQlnMK45EaRd6GHCmENe911/lDRw03udFqY+wvypa15NdrXDOsiKsSupjKMzPnMN5DhgFuwj8J9NWNAvudFqY+wvyrm50Wpj7C/KmaKCpgssawu+11kIkluREjLNdI9yi+4dZAr3kzMzxCRYFXynQo6IGSSNmjdDdeLwysLwSDdoJFdzLvZpEhlEMjPKFlK5zAxkfysN4vu9tS5GsBhgWIlDhvF8augN5JvON3JY33lixJJJ9NBLudFqY+wvyo3Oi1MfYX5UxRQJWaBVncIqrvUfmgLfpl5KK9x/eH6KP4paKAj+8P0UfxS01Ve9mDWhyS4uiTzXkT8UvoUi+oMmzQzhs29ovRgrJI1rhdSQGF6SEG4ggg3XUFvRSu5y86XvZ/FRucvOl72fxUBbeGPpR7mpqqy2ZPW+PypeNA42fkb9Vcvhz+1s7Jnc0Zs3nbReIwQuI+Vo0kDTw6eQ0FpRSu5y86XvZ/FRucvOl72fxUDD8B9lQ5P4mPo19wrw+TluPlS8Gtn8VVrSwwwQmRrR5YVFWM2yZmbAXICR4j5qseD0UF7RSi5PUi/FN/vLOP+MVd3OXnS97P4qBqlLH583Sj/HFXdzl50vez+KkM1HGJ5JJJFRJLyxln0DNxcjaT/wA0FzRSFmsySIHU2gAi8B3tUTf7o5BH+4qXc5edL3s/ioGqVl4+P+D++Ojc5edL3s/ipaTJ655Bil8x/wDVn5Y/1UFnRVPHaIWtG18VqElzMA+3UVlQqGZZGuVgC68BPnCntzl50vez+KgapXKfEv7KNzl50vez+Klso5PUQucUvBrZ/FQWdFU9qtMEcqxPLMHbDoD2pgucYpHjcG5MTgquIi8i4U9ucvOl72fxUDVcpbc5edL3s/io3OXnS97P4qAyd5h6WX/I9NVTJHFFA8skkqqskhLZ2c6BI40ANeSdAuGkk1PYFimjzkbzFbyumS0oyspKsrKzAqQQRcRQWVFK7nLzpe9n8VG5y86XvZ/FQEf3h+ij+KWio7LAFnkALHe4/OZ39MvOJurtB6Xj5LuHNJdfy3y0lkDJskbTySiNDNKJc1E7zKpwqrNnHVSSSOC64AC7009H94foo/ilpqgKKKKBW28MfSj3NVbZ9jWC37aWWQqyTY43IN8kpgII8m/CFhu0nRhQDQKsrbwx9KPc1NUBRRRQeX4D7KoMsZJe0WKJI0jZwgKSSSSwmBzGUEyNGpJYYjovF950ir9+A+yocn8TH0a+4UEsSkKATiIABY6MRHpr3RRQFUeVcmG0Q2iJSt+fjkAYsqsYhZ5QjFdIDYMJI0gG/TV5Slj8+bpR/jioIcgWB4bOI5CCcbsFVmdY0d2dIVZgCyopCgkDzeADQLGiigKVl4+P+D++OmqVl4+P+D++OghsuTmFpltEhUllWKIC/e4VGI33/iaRmJu9Cx8lWFFFAUrlPiX9lNUrlPiX9lBTZY2OSS22O0KUAXM3MWdWjzUrSSDNgXTB1KqMZGAriGmtHRRQFFFFBVS2ITWWWIqHxPLcpZovLEjlTnFBKEMAcQBIuvr1seyU0EJV2xO8rzOcTP5TknDiYAtcMIvuF919w4Azk7zD0sv+R6aoCiiigVj+8P0UfxS0UR/eH6KP4paKCJoS1oe6R03qPQojN/lS85TUu1G18vVD4KE49+ij+KWsFbYGay3CK1OBugIQ8dqZ1tkkoexS+WMQOAvhkOhb+EGg3u1G18vVD4KNqNr5eqHwUyvBprtBWWyytfHv8vGj0Q8jfopnaja+Xqh8FFt4Y+lHuaqdyBb7ViFpwtYogWUWrDiUzYhEyi4NhePRGcRJ5RQXG1G18vVD4KNqNr5eqHwUpsVJ3PswYOrCzRqyyK6OHVQrBlYAg3g8NWtAo9ka47/LwckPgqGwWVszHv8ALxa+iHkH6KffgPsrPZe+4QECYkTWV7oRM5uWSJnLLECSuAOSCLtHsoLnaja+Xqh8FG1G18vVD4KpMlopynM6QyQ4Y2jYmKZBanLIzTNIVwsFuCppJ8qT8N1+loFdqNr5eqHwUrZLK2Obf5eNHoh1cX6KtKrZLsFpxY7sRvzecx3ZqPzc35V/8dNAxtRtfL1Q+Cjaja+Xqh8FZGzw4hkwiGXPpHCJC0FoSQRqjKwM7ACNVbGWQ6X8kaL1v3FArtRtfL1Q+ClpLK2fTf5fMf0Q8sf6Ks6Vl4+P+D++OgNqNr5eqHwUbUbXy9UPgrP2mKZrZa0s+cUvHZ/LlNpjjuUy55YZSrBWwsnmaAWvuvvqz2IxOuTrMsqlHWzorIS5KkKBccQBvuuvvHDfw8NA7tRtfL1Q+Clso2Vsy+/y8HJD4Ks6VynxL+ygNqNr5eqHwUbUbXy9UPgqpyyP+vg4+42edGZFndFxBMN4UFQ2hrr9Po9NR7BYM3Z3jCAIkgRJhDJZWtCiOO+V45NOLFiUn04KC62o2vl6ofBRtRtfL1Q+CmqKCssFlbAd/l42T0Q6x/0UztRtfL1Q+CoobsxJixXY5r8GPFdjkvw4PKvu4MOnk01jbAJg1gYxO+CyWSNY54J2Ky42jtjlzdmZEQI2JxewW4X3m8NvtRtfL1Q+Cjaja+Xqh8FNUUCNliKzyXuz73HpbALtMvNArte4/vD9FH8UtFAR/eH6KP4paapBse2HwYOKjvxYudLyVLv37X96Bqild+/a/vRv37X96AtvDH0o9zU1VbbM7fHxXGjn8jUxv37X96Bqild+/a/vRv37X96Bh+A+yocn8TH0a+4V4fO3HiuD9dQ2DO5mPiuLXn8goLGild+/a/vRv37X96BqlLH583Sj/HFXd+/a/vS1kzuObiuNHP1cVBZ0Urvv7X96N+/a/vQNUrLx8f8AB/fHRv37X96XlzufTivMfn8sdBZUUrv37X96N+/a/vQNUrlPiX9lG/ftf3pfKOdzL8VwfroLKild+/a/vRv37X96Bqild+/a/vRv37X96Ayf5h6WX/I9NVWZPzuA8VxsnP1j0zvv7X96Bqild+/a/vRv37X96Aj+8P0UfxS0VHZcWfkx4eKjuw38svLXaD2nHv0UfxS1lpbbJJY2C2yQzm3TWWF4jEuJzI6pjUKb1jjUuRw4YzWpj+8P0UfxS1LFZEXzY0XTi8lVGm66/R6btFB7QXAC8m4XXm68/mbq9UUUCtt4Y+lHuas3l/K8iS2tEtAF0FkMaEoubaaaSJ/KuJQMAgLkHBeGuN1x0lt4Y+lHuapGsaEsTGhLLhYlVJZToKk+kXAaPyoK3Ypa2ksitIzMwkljJYqxGblkQJjGh8IULi/Fhv8ATVxXmOMKoVQFAFwVQAABwAAcAr1QeX4D7KosrWxorHZ3WbNb/ZUYnB5cbyRI8flcF6s3Bp0VevwH2UrZbOrwRh0Vxm1NzAML8N19x9poKLI1un3RkhlZ2GCaRhigeNFEqLZcAQ4o74i4IcC9ozdfcTWpqOOBVLFVVSxxMVABZuC83cJqSgKqLbaESK0vLM0CBwWlQgMowQ6F0HSeAAC8k6NN1W9JWeIM0ysoYGUXqwBB3uLhBoMfZMrziWIPaWLA2YLBihfOx2iedJBIUG+OkKLeVNwaFjwE372oEsUYKlY4wUvCkKowBvOC6NF/puqegKVl4+P+D++OmqVl4+P+D++OgzNuykwktpgtrYYrNIWLtC4jtS3FViUjQEW9WvvF7qNLK12oyfNjhje8NijVsQuN5IGnRQbBHexzUd7C5jhW9hw3E3adIHVU0cYUBVAUDQFAAAHIAKD1SuU+Jf2U1SuU+Jf2UFRlu2XW2COO0sj3h5IS0YjFm8oM7qwvLMblW433reNCvXvYjazJHK4naeIzbw8jI7mLAl7EqB5LOJGW/ThYcAIAuJLIjMGaNGYcDMqkj06CeCuwWVEvCIiXm8hFC3nlN1BLRRRQVjzKllleSUwopmLTAgGNQ8l7gkG672Vm0yhIIrLIbW+I2tUzbSQs+1pZykayRBd8coVQ6QU0t5RU4tZYkBjYMAQZZQQdIIzj6CK9pk+JSpWKMFb8JCqCuLhwm7Rf+VAxRRRQKx/eH6KP4paKI/vD9FH8UtFBE0rC0PhjL71HpvUXeVLy1Ltl9Se0leWYCWQsbgIUJOkXC+a81hJbfM1ikksUkkkJnzoAtDPPCiiERxMzksodhJIy33gMF0XtcG92xJqD2ko2xJqD2kpkV2grbZaHvj3k8aPxJyNTG2X1J7SUW3hj6Ue5qymW7Sj2u0Rx202ZkszJK0k8qrnHERQpFjGBUQEl0w8Zwk47g1e2H1J7SUbYk1B7SUnsVtOOyI1x8+RQxklnEgV3USrJISzIwAYXngYXXi41bUCj2h7jvJ4OclQ2C0PmY95PFr+JOQU+/AfZWW2U2pFsESGVoZJFCQyiWSzrHKU46RlIBVBe2Fr7yAACSKDQ7Yk1J7SUbYk1B7SVnNjmUXa3zLI2cLGYkB5f+njilVYFaInCokiZXVgAThY+VebtbQK7Yk1B7SUtZLQ+ObeTxo/Emriqzqkynao44LU85cRhxizbPG58iEBVZSCCSQOEDTpIF9BY7ZfUntJRtiTUHtJWXyVAZGsaraJZGVTPLLFaJ5IhCjMI7OSGwynGwTEwJZYHv03VsqBXbEmoPaSl5LQ+fTeT5j/iTljqypWXj4/4P746A2y+pPaSjbEmpPaSsTlnKKma0Zi0sgWSOKVJJ5rjJn487IVxXwQKt8ZZbgc4dFygnVbFJmawws5ctg0s5LFriQGDHS6kAFWOkrcTpJoHNsSag9pKXyjaHzL7yeDnJVlSuU+Jf2UBth9Se0lG2H1J7SVQ7IrSu3YIY7QYJyMeJpXWPNnGqpmS2GV3fRdcSApN4IW/mwSWRklxPnIwyKkmee1q8gRc80czgYlLXcGgHFwG8AL/AGxJqD2ko2xJqD2kpqigrMn2h8B3k8bJ+JNY9M7ZfUntJS+NBZpDK5RMcuNwzR4Vzj3tjUgr7QRdWIsVukvjBnlJEsYsuGWZ0nvtjraMBJ3+MQZsXvfcl5Fw00G/2xJqD2ko2xJqD2kpqigRssjGeTEmDeo9F4N+mXkrte4/vD9FH8UtFAR/eH6KP4paapB7SFtD3hzfFH5qSP8Ail9Kg1LuivNl7qfw0DVFK7orzZe6n8NG6K82Xup/DQFt4Y+lHuamqrLZlBb4/Jl40Hip+Rv00zuivNl7qfw0DVFK7orzZe6n8NG6K82Xup/DQMPwH2VDk/iY+jX3CvD5RW4+TLwaqfw1DYMoLmY/Jl4tf9KfkH6aCxopXdFebL3U/ho3RXmy91P4aBqlLH583Sj/ABxV3dFebL3U/hpWyZQXHL5MvGj/AEp9XF+mgtKKV3RXmy91P4aN0V5svdT+GgapWXj4/wCD++OjdFebL3U/hpaTKC59Dhl8x/8ASn5Y/wBNBZ0UruivNl7qfw0borzZe6n8NA1SuU+Jf2UborzZe6n8NLZRygphcYZeDVT+Ggs6KV3RXmy91P4aN0V5svdT+GgaopXdFebL3U/ho3RXmy91P4aAyf5h6WX/ACPTVVtitoVSCso3yQ8VNwM7EHzeQimN0V5svdT+GgaopXdFebL3U/ho3RXmy91P4aAj+8P0UfxS0VHZZw08hAYb3H5yunpl5wF9doPace/RR++Ws2mVLQglRpsTRZQs0V80ceNrPO8KMRmiFAYu5U3EgC4i/SNIovncHSM0guPp0y0uuxuyiPNCyWfN487m82mHOAXB7rvOAAAPoAHJQWIrtFFArbeGPpR7mpqlbbwx9KPc1NUBRRRQeX4D7KhyfxMfRr7hUz8B9lQ5P4mPo19woGKKKKApSx+fN0o/xxU3Slj8+bpR/jioG6KKKApWXj4/4P746apWXj4/4P746BqiiigKVynxL+ymqVynxL+ygaoqqyjbLQryCOHEqwl0IXEWkANy3Y1v03DDovvvxClLLb7aSMdniUZ3Cbr783jhGIeVzHmOnV8A4CGgorPPly2AkDJZIBcBs/HpCC8NddwPwL+fDcNNRTZatocFbBemZDmMkFhKTpjx4gDcLuBeXhoNNRWbbLNtJI2jm1uUh8SzkG/SMAZMRuI9IAuJvPBXVy5bMRG5puvOEmVV0KwAv0HhGn/jTw0GjorO2fLdsJIbJ5QXMQ2NTdcGwrd+I4govvA0k8FxMliyra2mVZLEEjbCMQkDFD5RZjo0i7ALtGkNpN4oLSP7w/RR/FLRRH94foo/ilooIzaUW0PjdVvijuxELf5UvLU26MWuj7a/OpytcwDkFBDujFro+2vzo3Ri10fbX51NgHIKMA5BQIWy3x3x77HxoPnryN+dM7oxa6Ptr86nwDkFcwDkFBDujFro+2vzo3Ri10fbX51NgHIKMA5BQLvlCK477Hwc9fnUNgyhHmY99j4tfxLyD86ewDkFGAcgoId0YtdH21+dG6MWuj7a/OpsA5BRgHIKCHdGLXR9tfnStkt8eOXfY+NH4l1cX51YYByCu4ByCgg3Ri10fbX50boxa6Ptr86mwDkFGAcgoId0YtdH21+dLSW+PPoc7H5j/jXlT86fwDkFdwDkFBBujFro+2vzo3Ri10fbX51NgHIKMA5BQQ7oxa6Ptr86Wyjb4zC4EsfBz1+dP4ByCu4ByCgg3Ri1sfbX50boxa6Ptr86mwDkFGAcgoId0YtdH21+dG6MWtj7a/OpsA5BRgHIKCHdGLXR9tfnRujFrY+2vzqbAOQUYByCgh3Ri1sfbX50boxa6Ptr86mwDkFGAcgoFLNOrTuVZW3uPzSGu0y8lFOAUUH/2Q=="/>
          <p:cNvSpPr>
            <a:spLocks noChangeAspect="1" noChangeArrowheads="1"/>
          </p:cNvSpPr>
          <p:nvPr/>
        </p:nvSpPr>
        <p:spPr bwMode="auto">
          <a:xfrm>
            <a:off x="79375" y="-727075"/>
            <a:ext cx="1828800" cy="1504950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Oval 6"/>
          <p:cNvSpPr/>
          <p:nvPr/>
        </p:nvSpPr>
        <p:spPr bwMode="auto">
          <a:xfrm>
            <a:off x="8915400" y="152400"/>
            <a:ext cx="990600" cy="990600"/>
          </a:xfrm>
          <a:prstGeom prst="ellips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8879775" y="480950"/>
            <a:ext cx="10668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Connexxus</a:t>
            </a:r>
            <a:endParaRPr lang="en-US" dirty="0"/>
          </a:p>
        </p:txBody>
      </p:sp>
      <p:sp>
        <p:nvSpPr>
          <p:cNvPr id="13" name="Rectangle 12"/>
          <p:cNvSpPr>
            <a:spLocks noChangeArrowheads="1"/>
          </p:cNvSpPr>
          <p:nvPr/>
        </p:nvSpPr>
        <p:spPr bwMode="gray">
          <a:xfrm>
            <a:off x="990600" y="1447800"/>
            <a:ext cx="2895600" cy="5562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9" tIns="36571" rIns="36571" bIns="36571"/>
          <a:lstStyle/>
          <a:p>
            <a:pPr marL="458788" lvl="1" indent="-457200" defTabSz="1019175" eaLnBrk="0" hangingPunct="0">
              <a:buClr>
                <a:schemeClr val="folHlink"/>
              </a:buClr>
              <a:buSzPct val="125000"/>
              <a:buFont typeface="Wingdings" pitchFamily="2" charset="2"/>
              <a:buChar char="§"/>
            </a:pPr>
            <a:endParaRPr lang="en-US" sz="1600" b="1" dirty="0" smtClean="0">
              <a:solidFill>
                <a:schemeClr val="bg2"/>
              </a:solidFill>
            </a:endParaRPr>
          </a:p>
          <a:p>
            <a:pPr marL="463550" lvl="3" indent="-461963" defTabSz="1019175" eaLnBrk="0" hangingPunct="0">
              <a:buClr>
                <a:schemeClr val="folHlink"/>
              </a:buClr>
              <a:buSzPct val="125000"/>
              <a:buFont typeface="Wingdings" pitchFamily="2" charset="2"/>
              <a:buChar char="§"/>
            </a:pPr>
            <a:r>
              <a:rPr lang="en-US" sz="1600" u="sng" dirty="0" smtClean="0">
                <a:hlinkClick r:id="rId4"/>
              </a:rPr>
              <a:t>http://www.ucop.edu/ucoptravel/</a:t>
            </a:r>
            <a:endParaRPr lang="en-US" sz="1600" u="sng" dirty="0" smtClean="0"/>
          </a:p>
          <a:p>
            <a:pPr marL="1373188" lvl="3" indent="-457200" defTabSz="1019175" eaLnBrk="0" hangingPunct="0">
              <a:buClr>
                <a:schemeClr val="folHlink"/>
              </a:buClr>
              <a:buSzPct val="125000"/>
              <a:buFont typeface="Wingdings" pitchFamily="2" charset="2"/>
              <a:buChar char="§"/>
            </a:pPr>
            <a:endParaRPr lang="en-US" sz="1600" u="sng" dirty="0" smtClean="0"/>
          </a:p>
          <a:p>
            <a:pPr marL="463550" lvl="3" indent="-461963" defTabSz="1019175" eaLnBrk="0" hangingPunct="0">
              <a:buClr>
                <a:schemeClr val="folHlink"/>
              </a:buClr>
              <a:buSzPct val="125000"/>
              <a:buFont typeface="Wingdings" pitchFamily="2" charset="2"/>
              <a:buChar char="§"/>
            </a:pPr>
            <a:r>
              <a:rPr lang="en-US" sz="1600" b="1" dirty="0" smtClean="0">
                <a:solidFill>
                  <a:schemeClr val="accent1"/>
                </a:solidFill>
                <a:sym typeface="Wingdings" pitchFamily="2" charset="2"/>
              </a:rPr>
              <a:t>Activity:  </a:t>
            </a:r>
          </a:p>
          <a:p>
            <a:pPr marL="1830388" lvl="4" indent="-457200" defTabSz="1019175" eaLnBrk="0" hangingPunct="0">
              <a:buClr>
                <a:schemeClr val="folHlink"/>
              </a:buClr>
              <a:buSzPct val="125000"/>
              <a:buFont typeface="Wingdings" pitchFamily="2" charset="2"/>
              <a:buChar char="§"/>
            </a:pPr>
            <a:endParaRPr lang="en-US" sz="1600" b="1" dirty="0" smtClean="0">
              <a:solidFill>
                <a:schemeClr val="accent1"/>
              </a:solidFill>
              <a:sym typeface="Wingdings" pitchFamily="2" charset="2"/>
            </a:endParaRPr>
          </a:p>
          <a:p>
            <a:pPr marL="920750" lvl="5" indent="-461963" defTabSz="1019175" eaLnBrk="0" hangingPunct="0">
              <a:buClr>
                <a:schemeClr val="folHlink"/>
              </a:buClr>
              <a:buSzPct val="125000"/>
              <a:buFont typeface="Wingdings" pitchFamily="2" charset="2"/>
              <a:buChar char="§"/>
            </a:pPr>
            <a:r>
              <a:rPr lang="en-US" sz="1600" b="1" dirty="0" smtClean="0">
                <a:solidFill>
                  <a:schemeClr val="accent1"/>
                </a:solidFill>
                <a:sym typeface="Wingdings" pitchFamily="2" charset="2"/>
              </a:rPr>
              <a:t>Log into Connexxus!</a:t>
            </a:r>
          </a:p>
          <a:p>
            <a:pPr marL="1830388" lvl="4" indent="-457200" defTabSz="1019175" eaLnBrk="0" hangingPunct="0">
              <a:buClr>
                <a:schemeClr val="folHlink"/>
              </a:buClr>
              <a:buSzPct val="125000"/>
              <a:buFont typeface="Wingdings" pitchFamily="2" charset="2"/>
              <a:buChar char="§"/>
            </a:pPr>
            <a:endParaRPr lang="en-US" sz="1600" b="1" dirty="0" smtClean="0">
              <a:solidFill>
                <a:schemeClr val="accent1"/>
              </a:solidFill>
              <a:sym typeface="Wingdings" pitchFamily="2" charset="2"/>
            </a:endParaRPr>
          </a:p>
          <a:p>
            <a:pPr marL="920750" lvl="5" indent="-461963" defTabSz="1019175" eaLnBrk="0" hangingPunct="0">
              <a:buClr>
                <a:schemeClr val="folHlink"/>
              </a:buClr>
              <a:buSzPct val="125000"/>
              <a:buFont typeface="Wingdings" pitchFamily="2" charset="2"/>
              <a:buChar char="§"/>
            </a:pPr>
            <a:r>
              <a:rPr lang="en-US" sz="1600" b="1" dirty="0" smtClean="0">
                <a:solidFill>
                  <a:schemeClr val="accent1"/>
                </a:solidFill>
                <a:sym typeface="Wingdings" pitchFamily="2" charset="2"/>
              </a:rPr>
              <a:t>Surf around, and try to come up with at least three user questions</a:t>
            </a:r>
          </a:p>
          <a:p>
            <a:pPr marL="1830388" lvl="4" indent="-457200" defTabSz="1019175" eaLnBrk="0" hangingPunct="0">
              <a:buClr>
                <a:schemeClr val="folHlink"/>
              </a:buClr>
              <a:buSzPct val="125000"/>
              <a:buFont typeface="Wingdings" pitchFamily="2" charset="2"/>
              <a:buChar char="§"/>
            </a:pPr>
            <a:endParaRPr lang="en-US" sz="1600" b="1" dirty="0" smtClean="0">
              <a:solidFill>
                <a:schemeClr val="accent1"/>
              </a:solidFill>
              <a:sym typeface="Wingdings" pitchFamily="2" charset="2"/>
            </a:endParaRPr>
          </a:p>
          <a:p>
            <a:pPr marL="920750" lvl="5" indent="-461963" defTabSz="1019175" eaLnBrk="0" hangingPunct="0">
              <a:buClr>
                <a:schemeClr val="folHlink"/>
              </a:buClr>
              <a:buSzPct val="125000"/>
              <a:buFont typeface="Wingdings" pitchFamily="2" charset="2"/>
              <a:buChar char="§"/>
            </a:pPr>
            <a:r>
              <a:rPr lang="en-US" sz="1600" b="1" dirty="0" smtClean="0">
                <a:solidFill>
                  <a:schemeClr val="accent1"/>
                </a:solidFill>
                <a:sym typeface="Wingdings" pitchFamily="2" charset="2"/>
              </a:rPr>
              <a:t>Email your questions to </a:t>
            </a:r>
            <a:r>
              <a:rPr lang="en-US" sz="1600" i="1" dirty="0" smtClean="0">
                <a:hlinkClick r:id="rId5"/>
              </a:rPr>
              <a:t>UCTravel@ucop.edu</a:t>
            </a:r>
            <a:endParaRPr lang="en-US" sz="1600" i="1" dirty="0" smtClean="0"/>
          </a:p>
          <a:p>
            <a:pPr marL="1830388" lvl="4" indent="-457200" defTabSz="1019175" eaLnBrk="0" hangingPunct="0">
              <a:buClr>
                <a:schemeClr val="folHlink"/>
              </a:buClr>
              <a:buSzPct val="125000"/>
              <a:buFont typeface="Wingdings" pitchFamily="2" charset="2"/>
              <a:buChar char="§"/>
            </a:pPr>
            <a:endParaRPr lang="en-US" sz="1600" b="1" i="1" dirty="0" smtClean="0">
              <a:solidFill>
                <a:schemeClr val="accent1"/>
              </a:solidFill>
              <a:sym typeface="Wingdings" pitchFamily="2" charset="2"/>
            </a:endParaRPr>
          </a:p>
          <a:p>
            <a:pPr marL="920750" lvl="5" indent="-461963" defTabSz="1019175" eaLnBrk="0" hangingPunct="0">
              <a:buClr>
                <a:schemeClr val="folHlink"/>
              </a:buClr>
              <a:buSzPct val="125000"/>
              <a:buFont typeface="Wingdings" pitchFamily="2" charset="2"/>
              <a:buChar char="§"/>
            </a:pPr>
            <a:r>
              <a:rPr lang="en-US" sz="1600" b="1" i="1" dirty="0" smtClean="0">
                <a:solidFill>
                  <a:schemeClr val="accent1"/>
                </a:solidFill>
                <a:sym typeface="Wingdings" pitchFamily="2" charset="2"/>
              </a:rPr>
              <a:t>Learn from it, and pass it on!</a:t>
            </a:r>
            <a:endParaRPr lang="en-US" sz="1600" b="1" dirty="0" smtClean="0">
              <a:solidFill>
                <a:schemeClr val="accent1"/>
              </a:solidFill>
              <a:sym typeface="Wingdings" pitchFamily="2" charset="2"/>
            </a:endParaRPr>
          </a:p>
        </p:txBody>
      </p:sp>
      <p:pic>
        <p:nvPicPr>
          <p:cNvPr id="14" name="Picture 13"/>
          <p:cNvPicPr/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00600" y="1524000"/>
            <a:ext cx="4595902" cy="2276475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</p:pic>
      <p:pic>
        <p:nvPicPr>
          <p:cNvPr id="15" name="Picture 14"/>
          <p:cNvPicPr/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62500" y="4410075"/>
            <a:ext cx="4762500" cy="2600325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</p:pic>
      <p:sp>
        <p:nvSpPr>
          <p:cNvPr id="16" name="Down Arrow 15"/>
          <p:cNvSpPr/>
          <p:nvPr/>
        </p:nvSpPr>
        <p:spPr bwMode="auto">
          <a:xfrm>
            <a:off x="6996050" y="3876675"/>
            <a:ext cx="228600" cy="457200"/>
          </a:xfrm>
          <a:prstGeom prst="downArrow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</p:spTree>
    <p:custDataLst>
      <p:tags r:id="rId1"/>
    </p:custDataLst>
  </p:cSld>
  <p:clrMapOvr>
    <a:masterClrMapping/>
  </p:clrMapOvr>
  <p:transition xmlns:p14="http://schemas.microsoft.com/office/powerpoint/2010/main">
    <p:cut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Rectangle 2"/>
          <p:cNvSpPr>
            <a:spLocks noGrp="1" noChangeArrowheads="1"/>
          </p:cNvSpPr>
          <p:nvPr>
            <p:ph type="title"/>
          </p:nvPr>
        </p:nvSpPr>
        <p:spPr>
          <a:xfrm>
            <a:off x="762000" y="838200"/>
            <a:ext cx="8153400" cy="304800"/>
          </a:xfrm>
        </p:spPr>
        <p:txBody>
          <a:bodyPr/>
          <a:lstStyle/>
          <a:p>
            <a:pPr lvl="1"/>
            <a:r>
              <a:rPr lang="en-US" sz="2300" dirty="0" smtClean="0"/>
              <a:t>Case Study B:  Part 4 – How might this relate to your area?</a:t>
            </a:r>
          </a:p>
        </p:txBody>
      </p:sp>
      <p:sp>
        <p:nvSpPr>
          <p:cNvPr id="93188" name="AutoShape 4" descr="data:image/jpg;base64,/9j/4AAQSkZJRgABAQAAAQABAAD/2wCEAAkGBhQSDhQQEA8QEBQUEBkQFA4QFhEQFBAQFBwWFRUQFRQYHycqFxkjGRUTHy8iIycsLCwsFR4xQTIqNSYrLSkBCQoKBQUFDQUFDSkYEhgpKSkpKSkpKSkpKSkpKSkpKSkpKSkpKSkpKSkpKSkpKSkpKSkpKSkpKSkpKSkpKSkpKf/AABEIAMwA9wMBIgACEQEDEQH/xAAbAAACAwEBAQAAAAAAAAAAAAAABAMFBgECB//EAEkQAAIBAQMEDQkIAQMDBQEAAAECAwAEERIFEyFTBhQVIzEzUVJzkZKT0iIyQVRxsbLR0wc0QmFiY3Kis0OBoSR0dRY1NsHCCP/EABQBAQAAAAAAAAAAAAAAAAAAAAD/xAAUEQEAAAAAAAAAAAAAAAAAAAAA/9oADAMBAAIRAxEAPwD7PLaXzhRERrkViWcp5xYXABTzf+a5nJtXF3j/AE67H94foo/ilpqgUzk2ri7x/p0ZybVxd4/06booFM5Nq4u8f6dGcm1cXeP9Om6KBTOTauLvH+nRnJtXF3j/AE6booFM5Nq4u8f6dGcm1cXeP9Om6KBTOTauLvH+nRnJtXF3j/TrL5O+0FpctS5KNjwtCpkefPBlzVyFXC4LyTnI9HovOnRV3YNl1kmWV4bVFKsK4pShLZpdOluTzT1Ggdzk2ri7x/p0ZybVxd4/06rZNnNhWBLQ1tgELsUSYtcjuvnKG4CR/wDR5KnynssslnEZtFqihEq4o84cOcGjzb+HhGj86BvOTauLvH+nRnJtXF3j/TqOfL0CWiOzPMizSrijhN+J106VHpHknqqHZRsijsNjltc2IpGAcK6WdmIVUH5liBQNZybVxd4/06M5Nq4u8f6dYXYr9sAtNshslpsEtia0xCazu7iRZkYMVbzVuDBWuOm8i6qu1f8A9ARLLI0eT55bLHMIXtiuo8psWErGRpvCORew0D0UH07OTauLvH+nRnJtXF3j/TrH7LPtjsNiiVlfbUsiJIlniNzZuRQ6u7Eb2CjAgHSbxo9Ij2WfbNZLEqLcbROwUtZYmF8IYBt8e64EXjRw/kKDaZybVxd4/wBOjOTauLvH+nTQNdoFM5Nq4u8f6dGcm1cXeP8ATpuigUzk2ri7x/p0ZybVxd4/06booFM5Nq4u8f6dGcm1cXeP9Om6KBTOTauLvH+nRnJtXF3j/TpuigWs1oYuyOiqQqterFwQxYelRd5v/NFcj+8P0UfxS0UBH94foo/ilpqlY/vD9FH8UtNUBRRRQFFFFAUUUUBRRRQfJtjv/wA5yh/2Q+Gx1P8AZMdGWf8AyU3/AOqNhViefZPlDKcattUxbWSZlZBLKogVgmIDEAYXvI/Llq+H2evFPa3sVuazJbWMk0LRJNhka/FJC5YYCcR4Qw6hQfNNkf8A8Lyb/wB2nvtNfTPtY2ObcyTMqm6WAbbhN9xDxXkge1cS+0jkrxsk+zGO05Ns+TYp2s8NnZXBwCV3KBlUkkgaS7k6NJPopj/0VO00882UM7JLYmsKnMIiQxu2JmCB/KY/meTkuoEfs0tj5QUZXnW5mgWxwryLHcbTLcDozk4YfxiWtXsgyLBarM0FrQPCbnZWZox5BxAllIIAIv4fRSOwfYtudYlsYmz6ozFHKCMgOS5U3E3+UW06OGvOz/ItoteTZrLZJEiklATHIWVc2SM4pKgnSt44PTQfKNg9lGU9kBtkCFLFk6IQ2cHEd7jVo7OgLabz5chvvI4Dw18/yd/7Ba//ACFl+C019m+znYRlbJ7xwSTZP2mHd5o4gxlkLKbjiMYvN+AcPAt1Ze0fYdlBBNYoJrIbJLaUnz0hkEqiISKgKheG6Q3gX3kDSNNAl9p2S4l2O5JtCwxrK8MKvMqqHdRZxcGYC9rsK3X8F1TfbrkyJLPk2ZIY0kkRs5KiqrS3JBdjYDyrrzw8tbn7QvsymteS7HYbJJENq4VxTlkxIkebB8lW0nQaj+077NrTlGz2KKzvZ1azKwcys6gkrGow4UN+lDw3eig+lrwV2uCu0BRRRQFFFFAUUUUBRRRQKx/eH6KP4paKI/vD9FH8UtFBE8xW0PdG771HpUxi7ypecwqXbjery9cHjoRv+ofoo/ilpLZRY89Y5IlMt7YQDCY8YuZTiukIV1F17KfOUMum+6gd22/q8vXB46NuN6vL1weOvncOxm1XPnLLGpkzUxWJohEjR2aeJogpbyTnGW4C8DH51wJGm2FZJls2ejm0qrJFBKSpaSzIt8eO4+egbNknhzd/poL7bjery9cHjo243q8vXB46ZxjlFUmzHJW2rC9mUm+Ro1xIQGjGcQmUEkaVALcuigstuN6vL1weOjbjery9cHjr53FsZtmcd7TDtgSSvJLEjxYZJpbJCiugZh5CTCdBfcRjVrvSHtj2xy1w2yB5TnUJU2h2dTdaYbKIBaUBN5Ehd1bRffGhu0mg223G9Xl64PHRtxvV5euDx0xjHKK7jHKKBbbbery9cHjo22/q8vXB46zuXtjQmyhFKIUZTZ5xLKSuic7W2uTeb9Gae64XDTzjfl//AEraTHZcVlJzUMEMqE2aQsYbLaonNzOAymWWIAk+jFoABoPpW3G9Xl64PHRtxvV5euDx1NEwwjgGgaL77vyvr3jHKKBbbjery9cHjo22/q8vXB46yez3Y5NaZFay6C9knsssiuEZL83PAwvIv32HBo9ExqqtOxm0GYytZsRlsV7qu12CWyV7TK6B2cFcBmj8pb8QQLwUH0Hbjery9cHjo243q8vXB46zmwTJMsAkzq5lGis6LAWVrpo4gs81ykhcTYRoOnNk+nTrMY5RQLbcb1eXrg8dG239Xl64PHXu1QJIhjkCurC5kPAw5DyivmE2wu07TjWODNynJ1viluaC9rRNm1gQnHdeVQjEOD0kUH0zbjery9cHjo243q8vXB46yWxzIU0dsxPFgRbRaZw+KMqUnWEIoAN+IYXBF1wwfmL9tjHKKBbbjery9cHjo22/q8vXB46YxjlFfPdkWxSeaXKEixK2cezmAERFnwizrI6uXGFQElBQ3Yr7+Sg3W3G9Xl64PHRtxvV5euDx1kth+RZ4bYzzxYFFmkhxhozGzm1TyjNqGJSMxyIVU+aLlvJWtrjHKKBfbjery9cHjo243q8vXB46ZxjlFZjZ3k2SeFBAhkdHMixnNtDI2BkzVoVmXyGDsMS6UNzeigvttt6vL1weOjbjery9cHjr59lLY5aZXtDtZseeezWlAXibMyJaFE0VzPdi2qkIJGgiMjhYg/RbNCkaLGgCqihFUcCqouAH+1AvZZS08l6Mm9x6GwG/TLzWNFSRH/qH6KP4paKCM2ZGtD40Rroo/OUNd5UvLU250Wpj7C/KvMf3h+ij+KWmqBfc6LUx9hflRudFqY+wvypiigrrZk+O+Peo+NH4F5G/KmdzotTH2F+Vebbwx9KPc1NUC+50Wpj7C/Kjc6LUx9hflTFFAq+TorjvMXBzF+VQ2DJ8eZj3qPi1/AvIPyp5+A+yocn8TH0a+4UBudFqY+wvyo3Oi1MfYX5UxRQL7nRamPsL8qVsmT48cu9R8aPwLq4vyqypSx+fN0o/xxUHvc6LUx9hflRudFqY+wvypiigX3Oi1MfYX5UtJk+PPoM1H5j/AIF5Y/yqxpWXj4/4P746D1udFqY+wvyo3Oi1MfYX5UxRQL7nRamPsL8qWyjk+MQvvUfBzF+VWNK5T4l/ZQLSmBbQlnMK45EaRd6GHCmENe911/lDRw03udFqY+wvypa15NdrXDOsiKsSupjKMzPnMN5DhgFuwj8J9NWNAvudFqY+wvyrm50Wpj7C/KmaKCpgssawu+11kIkluREjLNdI9yi+4dZAr3kzMzxCRYFXynQo6IGSSNmjdDdeLwysLwSDdoJFdzLvZpEhlEMjPKFlK5zAxkfysN4vu9tS5GsBhgWIlDhvF8augN5JvON3JY33lixJJJ9NBLudFqY+wvyo3Oi1MfYX5UxRQJWaBVncIqrvUfmgLfpl5KK9x/eH6KP4paKAj+8P0UfxS01Ve9mDWhyS4uiTzXkT8UvoUi+oMmzQzhs29ovRgrJI1rhdSQGF6SEG4ggg3XUFvRSu5y86XvZ/FRucvOl72fxUBbeGPpR7mpqqy2ZPW+PypeNA42fkb9Vcvhz+1s7Jnc0Zs3nbReIwQuI+Vo0kDTw6eQ0FpRSu5y86XvZ/FRucvOl72fxUDD8B9lQ5P4mPo19wrw+TluPlS8Gtn8VVrSwwwQmRrR5YVFWM2yZmbAXICR4j5qseD0UF7RSi5PUi/FN/vLOP+MVd3OXnS97P4qBqlLH583Sj/HFXdzl50vez+KkM1HGJ5JJJFRJLyxln0DNxcjaT/wA0FzRSFmsySIHU2gAi8B3tUTf7o5BH+4qXc5edL3s/ioGqVl4+P+D++Ojc5edL3s/ipaTJ655Bil8x/wDVn5Y/1UFnRVPHaIWtG18VqElzMA+3UVlQqGZZGuVgC68BPnCntzl50vez+KgapXKfEv7KNzl50vez+Klso5PUQucUvBrZ/FQWdFU9qtMEcqxPLMHbDoD2pgucYpHjcG5MTgquIi8i4U9ucvOl72fxUDVcpbc5edL3s/io3OXnS97P4qAyd5h6WX/I9NVTJHFFA8skkqqskhLZ2c6BI40ANeSdAuGkk1PYFimjzkbzFbyumS0oyspKsrKzAqQQRcRQWVFK7nLzpe9n8VG5y86XvZ/FQEf3h+ij+KWio7LAFnkALHe4/OZ39MvOJurtB6Xj5LuHNJdfy3y0lkDJskbTySiNDNKJc1E7zKpwqrNnHVSSSOC64AC7009H94foo/ilpqgKKKKBW28MfSj3NVbZ9jWC37aWWQqyTY43IN8kpgII8m/CFhu0nRhQDQKsrbwx9KPc1NUBRRRQeX4D7KoMsZJe0WKJI0jZwgKSSSSwmBzGUEyNGpJYYjovF950ir9+A+yocn8TH0a+4UEsSkKATiIABY6MRHpr3RRQFUeVcmG0Q2iJSt+fjkAYsqsYhZ5QjFdIDYMJI0gG/TV5Slj8+bpR/jioIcgWB4bOI5CCcbsFVmdY0d2dIVZgCyopCgkDzeADQLGiigKVl4+P+D++OmqVl4+P+D++OghsuTmFpltEhUllWKIC/e4VGI33/iaRmJu9Cx8lWFFFAUrlPiX9lNUrlPiX9lBTZY2OSS22O0KUAXM3MWdWjzUrSSDNgXTB1KqMZGAriGmtHRRQFFFFBVS2ITWWWIqHxPLcpZovLEjlTnFBKEMAcQBIuvr1seyU0EJV2xO8rzOcTP5TknDiYAtcMIvuF919w4Azk7zD0sv+R6aoCiiigVj+8P0UfxS0UR/eH6KP4paKCJoS1oe6R03qPQojN/lS85TUu1G18vVD4KE49+ij+KWsFbYGay3CK1OBugIQ8dqZ1tkkoexS+WMQOAvhkOhb+EGg3u1G18vVD4KNqNr5eqHwUyvBprtBWWyytfHv8vGj0Q8jfopnaja+Xqh8FFt4Y+lHuaqdyBb7ViFpwtYogWUWrDiUzYhEyi4NhePRGcRJ5RQXG1G18vVD4KNqNr5eqHwUpsVJ3PswYOrCzRqyyK6OHVQrBlYAg3g8NWtAo9ka47/LwckPgqGwWVszHv8ALxa+iHkH6KffgPsrPZe+4QECYkTWV7oRM5uWSJnLLECSuAOSCLtHsoLnaja+Xqh8FG1G18vVD4KpMlopynM6QyQ4Y2jYmKZBanLIzTNIVwsFuCppJ8qT8N1+loFdqNr5eqHwUrZLK2Obf5eNHoh1cX6KtKrZLsFpxY7sRvzecx3ZqPzc35V/8dNAxtRtfL1Q+Cjaja+Xqh8FZGzw4hkwiGXPpHCJC0FoSQRqjKwM7ACNVbGWQ6X8kaL1v3FArtRtfL1Q+ClpLK2fTf5fMf0Q8sf6Ks6Vl4+P+D++OgNqNr5eqHwUbUbXy9UPgrP2mKZrZa0s+cUvHZ/LlNpjjuUy55YZSrBWwsnmaAWvuvvqz2IxOuTrMsqlHWzorIS5KkKBccQBvuuvvHDfw8NA7tRtfL1Q+Clso2Vsy+/y8HJD4Ks6VynxL+ygNqNr5eqHwUbUbXy9UPgqpyyP+vg4+42edGZFndFxBMN4UFQ2hrr9Po9NR7BYM3Z3jCAIkgRJhDJZWtCiOO+V45NOLFiUn04KC62o2vl6ofBRtRtfL1Q+CmqKCssFlbAd/l42T0Q6x/0UztRtfL1Q+CoobsxJixXY5r8GPFdjkvw4PKvu4MOnk01jbAJg1gYxO+CyWSNY54J2Ky42jtjlzdmZEQI2JxewW4X3m8NvtRtfL1Q+Cjaja+Xqh8FNUUCNliKzyXuz73HpbALtMvNArte4/vD9FH8UtFAR/eH6KP4paapBse2HwYOKjvxYudLyVLv37X96Bqild+/a/vRv37X96AtvDH0o9zU1VbbM7fHxXGjn8jUxv37X96Bqild+/a/vRv37X96Bh+A+yocn8TH0a+4V4fO3HiuD9dQ2DO5mPiuLXn8goLGild+/a/vRv37X96BqlLH583Sj/HFXd+/a/vS1kzuObiuNHP1cVBZ0Urvv7X96N+/a/vQNUrLx8f8AB/fHRv37X96XlzufTivMfn8sdBZUUrv37X96N+/a/vQNUrlPiX9lG/ftf3pfKOdzL8VwfroLKild+/a/vRv37X96Bqild+/a/vRv37X96Ayf5h6WX/I9NVWZPzuA8VxsnP1j0zvv7X96Bqild+/a/vRv37X96Aj+8P0UfxS0VHZcWfkx4eKjuw38svLXaD2nHv0UfxS1lpbbJJY2C2yQzm3TWWF4jEuJzI6pjUKb1jjUuRw4YzWpj+8P0UfxS1LFZEXzY0XTi8lVGm66/R6btFB7QXAC8m4XXm68/mbq9UUUCtt4Y+lHuas3l/K8iS2tEtAF0FkMaEoubaaaSJ/KuJQMAgLkHBeGuN1x0lt4Y+lHuapGsaEsTGhLLhYlVJZToKk+kXAaPyoK3Ypa2ksitIzMwkljJYqxGblkQJjGh8IULi/Fhv8ATVxXmOMKoVQFAFwVQAABwAAcAr1QeX4D7KosrWxorHZ3WbNb/ZUYnB5cbyRI8flcF6s3Bp0VevwH2UrZbOrwRh0Vxm1NzAML8N19x9poKLI1un3RkhlZ2GCaRhigeNFEqLZcAQ4o74i4IcC9ozdfcTWpqOOBVLFVVSxxMVABZuC83cJqSgKqLbaESK0vLM0CBwWlQgMowQ6F0HSeAAC8k6NN1W9JWeIM0ysoYGUXqwBB3uLhBoMfZMrziWIPaWLA2YLBihfOx2iedJBIUG+OkKLeVNwaFjwE372oEsUYKlY4wUvCkKowBvOC6NF/puqegKVl4+P+D++OmqVl4+P+D++OgzNuykwktpgtrYYrNIWLtC4jtS3FViUjQEW9WvvF7qNLK12oyfNjhje8NijVsQuN5IGnRQbBHexzUd7C5jhW9hw3E3adIHVU0cYUBVAUDQFAAAHIAKD1SuU+Jf2U1SuU+Jf2UFRlu2XW2COO0sj3h5IS0YjFm8oM7qwvLMblW433reNCvXvYjazJHK4naeIzbw8jI7mLAl7EqB5LOJGW/ThYcAIAuJLIjMGaNGYcDMqkj06CeCuwWVEvCIiXm8hFC3nlN1BLRRRQVjzKllleSUwopmLTAgGNQ8l7gkG672Vm0yhIIrLIbW+I2tUzbSQs+1pZykayRBd8coVQ6QU0t5RU4tZYkBjYMAQZZQQdIIzj6CK9pk+JSpWKMFb8JCqCuLhwm7Rf+VAxRRRQKx/eH6KP4paKI/vD9FH8UtFBE0rC0PhjL71HpvUXeVLy1Ltl9Se0leWYCWQsbgIUJOkXC+a81hJbfM1ikksUkkkJnzoAtDPPCiiERxMzksodhJIy33gMF0XtcG92xJqD2ko2xJqD2kpkV2grbZaHvj3k8aPxJyNTG2X1J7SUW3hj6Ue5qymW7Sj2u0Rx202ZkszJK0k8qrnHERQpFjGBUQEl0w8Zwk47g1e2H1J7SUbYk1B7SUnsVtOOyI1x8+RQxklnEgV3USrJISzIwAYXngYXXi41bUCj2h7jvJ4OclQ2C0PmY95PFr+JOQU+/AfZWW2U2pFsESGVoZJFCQyiWSzrHKU46RlIBVBe2Fr7yAACSKDQ7Yk1J7SUbYk1B7SVnNjmUXa3zLI2cLGYkB5f+njilVYFaInCokiZXVgAThY+VebtbQK7Yk1B7SUtZLQ+ObeTxo/Emriqzqkynao44LU85cRhxizbPG58iEBVZSCCSQOEDTpIF9BY7ZfUntJRtiTUHtJWXyVAZGsaraJZGVTPLLFaJ5IhCjMI7OSGwynGwTEwJZYHv03VsqBXbEmoPaSl5LQ+fTeT5j/iTljqypWXj4/4P746A2y+pPaSjbEmpPaSsTlnKKma0Zi0sgWSOKVJJ5rjJn487IVxXwQKt8ZZbgc4dFygnVbFJmawws5ctg0s5LFriQGDHS6kAFWOkrcTpJoHNsSag9pKXyjaHzL7yeDnJVlSuU+Jf2UBth9Se0lG2H1J7SVQ7IrSu3YIY7QYJyMeJpXWPNnGqpmS2GV3fRdcSApN4IW/mwSWRklxPnIwyKkmee1q8gRc80czgYlLXcGgHFwG8AL/AGxJqD2ko2xJqD2kpqigrMn2h8B3k8bJ+JNY9M7ZfUntJS+NBZpDK5RMcuNwzR4Vzj3tjUgr7QRdWIsVukvjBnlJEsYsuGWZ0nvtjraMBJ3+MQZsXvfcl5Fw00G/2xJqD2ko2xJqD2kpqigRssjGeTEmDeo9F4N+mXkrte4/vD9FH8UtFAR/eH6KP4paapB7SFtD3hzfFH5qSP8Ail9Kg1LuivNl7qfw0DVFK7orzZe6n8NG6K82Xup/DQFt4Y+lHuamqrLZlBb4/Jl40Hip+Rv00zuivNl7qfw0DVFK7orzZe6n8NG6K82Xup/DQMPwH2VDk/iY+jX3CvD5RW4+TLwaqfw1DYMoLmY/Jl4tf9KfkH6aCxopXdFebL3U/ho3RXmy91P4aBqlLH583Sj/ABxV3dFebL3U/hpWyZQXHL5MvGj/AEp9XF+mgtKKV3RXmy91P4aN0V5svdT+GgapWXj4/wCD++OjdFebL3U/hpaTKC59Dhl8x/8ASn5Y/wBNBZ0UruivNl7qfw0borzZe6n8NA1SuU+Jf2UborzZe6n8NLZRygphcYZeDVT+Ggs6KV3RXmy91P4aN0V5svdT+GgaopXdFebL3U/ho3RXmy91P4aAyf5h6WX/ACPTVVtitoVSCso3yQ8VNwM7EHzeQimN0V5svdT+GgaopXdFebL3U/ho3RXmy91P4aAj+8P0UfxS0VHZZw08hAYb3H5yunpl5wF9doPace/RR++Ws2mVLQglRpsTRZQs0V80ceNrPO8KMRmiFAYu5U3EgC4i/SNIovncHSM0guPp0y0uuxuyiPNCyWfN487m82mHOAXB7rvOAAAPoAHJQWIrtFFArbeGPpR7mpqlbbwx9KPc1NUBRRRQeX4D7KhyfxMfRr7hUz8B9lQ5P4mPo19woGKKKKApSx+fN0o/xxU3Slj8+bpR/jioG6KKKApWXj4/4P746apWXj4/4P746BqiiigKVynxL+ymqVynxL+ygaoqqyjbLQryCOHEqwl0IXEWkANy3Y1v03DDovvvxClLLb7aSMdniUZ3Cbr783jhGIeVzHmOnV8A4CGgorPPly2AkDJZIBcBs/HpCC8NddwPwL+fDcNNRTZatocFbBemZDmMkFhKTpjx4gDcLuBeXhoNNRWbbLNtJI2jm1uUh8SzkG/SMAZMRuI9IAuJvPBXVy5bMRG5puvOEmVV0KwAv0HhGn/jTw0GjorO2fLdsJIbJ5QXMQ2NTdcGwrd+I4govvA0k8FxMliyra2mVZLEEjbCMQkDFD5RZjo0i7ALtGkNpN4oLSP7w/RR/FLRRH94foo/ilooIzaUW0PjdVvijuxELf5UvLU26MWuj7a/OpytcwDkFBDujFro+2vzo3Ri10fbX51NgHIKMA5BQIWy3x3x77HxoPnryN+dM7oxa6Ptr86nwDkFcwDkFBDujFro+2vzo3Ri10fbX51NgHIKMA5BQLvlCK477Hwc9fnUNgyhHmY99j4tfxLyD86ewDkFGAcgoId0YtdH21+dG6MWuj7a/OpsA5BRgHIKCHdGLXR9tfnStkt8eOXfY+NH4l1cX51YYByCu4ByCgg3Ri10fbX50boxa6Ptr86mwDkFGAcgoId0YtdH21+dLSW+PPoc7H5j/jXlT86fwDkFdwDkFBBujFro+2vzo3Ri10fbX51NgHIKMA5BQQ7oxa6Ptr86Wyjb4zC4EsfBz1+dP4ByCu4ByCgg3Ri1sfbX50boxa6Ptr86mwDkFGAcgoId0YtdH21+dG6MWtj7a/OpsA5BRgHIKCHdGLXR9tfnRujFrY+2vzqbAOQUYByCgh3Ri1sfbX50boxa6Ptr86mwDkFGAcgoFLNOrTuVZW3uPzSGu0y8lFOAUUH/2Q=="/>
          <p:cNvSpPr>
            <a:spLocks noChangeAspect="1" noChangeArrowheads="1"/>
          </p:cNvSpPr>
          <p:nvPr/>
        </p:nvSpPr>
        <p:spPr bwMode="auto">
          <a:xfrm>
            <a:off x="79375" y="-727075"/>
            <a:ext cx="1828800" cy="1504950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Oval 6"/>
          <p:cNvSpPr/>
          <p:nvPr/>
        </p:nvSpPr>
        <p:spPr bwMode="auto">
          <a:xfrm>
            <a:off x="8915400" y="152400"/>
            <a:ext cx="990600" cy="990600"/>
          </a:xfrm>
          <a:prstGeom prst="ellips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8879775" y="480950"/>
            <a:ext cx="10668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Connexxus</a:t>
            </a:r>
            <a:endParaRPr lang="en-US" dirty="0"/>
          </a:p>
        </p:txBody>
      </p:sp>
      <p:sp>
        <p:nvSpPr>
          <p:cNvPr id="11" name="Rectangle 10"/>
          <p:cNvSpPr>
            <a:spLocks noChangeArrowheads="1"/>
          </p:cNvSpPr>
          <p:nvPr/>
        </p:nvSpPr>
        <p:spPr bwMode="gray">
          <a:xfrm>
            <a:off x="1066800" y="1295400"/>
            <a:ext cx="8229600" cy="533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9" tIns="36571" rIns="36571" bIns="36571"/>
          <a:lstStyle/>
          <a:p>
            <a:pPr marL="458788" lvl="1" indent="-457200" algn="just" defTabSz="1019175" eaLnBrk="0" hangingPunct="0">
              <a:buClr>
                <a:schemeClr val="folHlink"/>
              </a:buClr>
              <a:buSzPct val="125000"/>
              <a:buFont typeface="Wingdings" pitchFamily="2" charset="2"/>
              <a:buChar char="§"/>
            </a:pPr>
            <a:endParaRPr lang="en-US" sz="2400" b="1" dirty="0" smtClean="0">
              <a:solidFill>
                <a:schemeClr val="bg2"/>
              </a:solidFill>
            </a:endParaRPr>
          </a:p>
          <a:p>
            <a:pPr marL="458788" lvl="3" indent="-457200" algn="just" defTabSz="1019175" eaLnBrk="0" hangingPunct="0">
              <a:buClr>
                <a:schemeClr val="folHlink"/>
              </a:buClr>
              <a:buSzPct val="125000"/>
              <a:buFont typeface="Wingdings" pitchFamily="2" charset="2"/>
              <a:buChar char="§"/>
            </a:pPr>
            <a:r>
              <a:rPr lang="en-US" sz="2300" b="1" dirty="0" smtClean="0">
                <a:solidFill>
                  <a:schemeClr val="accent1"/>
                </a:solidFill>
                <a:sym typeface="Wingdings" pitchFamily="2" charset="2"/>
              </a:rPr>
              <a:t>Operationally?</a:t>
            </a:r>
          </a:p>
          <a:p>
            <a:pPr marL="458788" lvl="3" indent="-457200" algn="just" defTabSz="1019175" eaLnBrk="0" hangingPunct="0">
              <a:buClr>
                <a:schemeClr val="folHlink"/>
              </a:buClr>
              <a:buSzPct val="125000"/>
              <a:buFont typeface="Wingdings" pitchFamily="2" charset="2"/>
              <a:buChar char="§"/>
            </a:pPr>
            <a:endParaRPr lang="en-US" sz="2300" b="1" dirty="0" smtClean="0">
              <a:solidFill>
                <a:schemeClr val="accent1"/>
              </a:solidFill>
              <a:sym typeface="Wingdings" pitchFamily="2" charset="2"/>
            </a:endParaRPr>
          </a:p>
          <a:p>
            <a:pPr marL="458788" lvl="3" indent="-457200" algn="just" defTabSz="1019175" eaLnBrk="0" hangingPunct="0">
              <a:buClr>
                <a:schemeClr val="folHlink"/>
              </a:buClr>
              <a:buSzPct val="125000"/>
              <a:buFont typeface="Wingdings" pitchFamily="2" charset="2"/>
              <a:buChar char="§"/>
            </a:pPr>
            <a:r>
              <a:rPr lang="en-US" sz="2300" b="1" dirty="0" smtClean="0">
                <a:solidFill>
                  <a:schemeClr val="accent1"/>
                </a:solidFill>
                <a:sym typeface="Wingdings" pitchFamily="2" charset="2"/>
              </a:rPr>
              <a:t>Financially?</a:t>
            </a:r>
          </a:p>
          <a:p>
            <a:pPr marL="458788" lvl="3" indent="-457200" algn="just" defTabSz="1019175" eaLnBrk="0" hangingPunct="0">
              <a:buClr>
                <a:schemeClr val="folHlink"/>
              </a:buClr>
              <a:buSzPct val="125000"/>
              <a:buFont typeface="Wingdings" pitchFamily="2" charset="2"/>
              <a:buChar char="§"/>
            </a:pPr>
            <a:endParaRPr lang="en-US" sz="2300" b="1" dirty="0" smtClean="0">
              <a:solidFill>
                <a:schemeClr val="accent1"/>
              </a:solidFill>
              <a:sym typeface="Wingdings" pitchFamily="2" charset="2"/>
            </a:endParaRPr>
          </a:p>
          <a:p>
            <a:pPr marL="458788" lvl="3" indent="-457200" algn="just" defTabSz="1019175" eaLnBrk="0" hangingPunct="0">
              <a:buClr>
                <a:schemeClr val="folHlink"/>
              </a:buClr>
              <a:buSzPct val="125000"/>
              <a:buFont typeface="Wingdings" pitchFamily="2" charset="2"/>
              <a:buChar char="§"/>
            </a:pPr>
            <a:r>
              <a:rPr lang="en-US" sz="2300" b="1" dirty="0" smtClean="0">
                <a:solidFill>
                  <a:schemeClr val="accent1"/>
                </a:solidFill>
                <a:sym typeface="Wingdings" pitchFamily="2" charset="2"/>
              </a:rPr>
              <a:t>Describe an example – either one that has actually happened, or one that you anticipate happening</a:t>
            </a:r>
          </a:p>
          <a:p>
            <a:pPr marL="458788" lvl="3" indent="-457200" algn="just" defTabSz="1019175" eaLnBrk="0" hangingPunct="0">
              <a:buClr>
                <a:schemeClr val="folHlink"/>
              </a:buClr>
              <a:buSzPct val="125000"/>
              <a:buFont typeface="Wingdings" pitchFamily="2" charset="2"/>
              <a:buChar char="§"/>
            </a:pPr>
            <a:endParaRPr lang="en-US" sz="2300" b="1" dirty="0" smtClean="0">
              <a:solidFill>
                <a:schemeClr val="accent1"/>
              </a:solidFill>
              <a:sym typeface="Wingdings" pitchFamily="2" charset="2"/>
            </a:endParaRPr>
          </a:p>
          <a:p>
            <a:pPr marL="458788" lvl="3" indent="-457200" algn="just" defTabSz="1019175" eaLnBrk="0" hangingPunct="0">
              <a:buClr>
                <a:schemeClr val="folHlink"/>
              </a:buClr>
              <a:buSzPct val="125000"/>
              <a:buFont typeface="Wingdings" pitchFamily="2" charset="2"/>
              <a:buChar char="§"/>
            </a:pPr>
            <a:r>
              <a:rPr lang="en-US" sz="2300" b="1" dirty="0" smtClean="0">
                <a:solidFill>
                  <a:schemeClr val="accent1"/>
                </a:solidFill>
                <a:sym typeface="Wingdings" pitchFamily="2" charset="2"/>
              </a:rPr>
              <a:t>What could/would you do?</a:t>
            </a:r>
          </a:p>
          <a:p>
            <a:pPr marL="458788" lvl="3" indent="-457200" algn="just" defTabSz="1019175" eaLnBrk="0" hangingPunct="0">
              <a:buClr>
                <a:schemeClr val="folHlink"/>
              </a:buClr>
              <a:buSzPct val="125000"/>
              <a:buFont typeface="Wingdings" pitchFamily="2" charset="2"/>
              <a:buChar char="§"/>
            </a:pPr>
            <a:endParaRPr lang="en-US" sz="2300" b="1" dirty="0" smtClean="0">
              <a:solidFill>
                <a:schemeClr val="accent1"/>
              </a:solidFill>
              <a:sym typeface="Wingdings" pitchFamily="2" charset="2"/>
            </a:endParaRPr>
          </a:p>
          <a:p>
            <a:pPr marL="458788" lvl="3" indent="-457200" algn="just" defTabSz="1019175" eaLnBrk="0" hangingPunct="0">
              <a:buClr>
                <a:schemeClr val="folHlink"/>
              </a:buClr>
              <a:buSzPct val="125000"/>
              <a:buFont typeface="Wingdings" pitchFamily="2" charset="2"/>
              <a:buChar char="§"/>
            </a:pPr>
            <a:r>
              <a:rPr lang="en-US" sz="2300" b="1" dirty="0" smtClean="0">
                <a:solidFill>
                  <a:schemeClr val="accent1"/>
                </a:solidFill>
                <a:sym typeface="Wingdings" pitchFamily="2" charset="2"/>
              </a:rPr>
              <a:t>What creative ideas or solutions might you be able to offer to the CFO Division?</a:t>
            </a:r>
          </a:p>
        </p:txBody>
      </p:sp>
    </p:spTree>
    <p:custDataLst>
      <p:tags r:id="rId1"/>
    </p:custDataLst>
  </p:cSld>
  <p:clrMapOvr>
    <a:masterClrMapping/>
  </p:clrMapOvr>
  <p:transition xmlns:p14="http://schemas.microsoft.com/office/powerpoint/2010/main">
    <p:cut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 bwMode="auto">
          <a:xfrm>
            <a:off x="1014350" y="1490350"/>
            <a:ext cx="8534400" cy="4953000"/>
          </a:xfrm>
          <a:prstGeom prst="rect">
            <a:avLst/>
          </a:prstGeom>
          <a:solidFill>
            <a:srgbClr val="FFFF00">
              <a:alpha val="50000"/>
            </a:srgbClr>
          </a:solidFill>
          <a:ln w="38100" cap="flat" cmpd="sng" algn="ctr">
            <a:solidFill>
              <a:srgbClr val="FFC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24577" name="Rectangle 2"/>
          <p:cNvSpPr>
            <a:spLocks noGrp="1" noChangeArrowheads="1"/>
          </p:cNvSpPr>
          <p:nvPr>
            <p:ph type="title"/>
          </p:nvPr>
        </p:nvSpPr>
        <p:spPr>
          <a:xfrm>
            <a:off x="762000" y="838200"/>
            <a:ext cx="8153400" cy="304800"/>
          </a:xfrm>
        </p:spPr>
        <p:txBody>
          <a:bodyPr/>
          <a:lstStyle/>
          <a:p>
            <a:pPr lvl="1"/>
            <a:r>
              <a:rPr lang="en-US" sz="2300" dirty="0" smtClean="0"/>
              <a:t>Case Study B:  Part 5 – What can you do as a leader?</a:t>
            </a:r>
          </a:p>
        </p:txBody>
      </p:sp>
      <p:sp>
        <p:nvSpPr>
          <p:cNvPr id="93188" name="AutoShape 4" descr="data:image/jpg;base64,/9j/4AAQSkZJRgABAQAAAQABAAD/2wCEAAkGBhQSDhQQEA8QEBQUEBkQFA4QFhEQFBAQFBwWFRUQFRQYHycqFxkjGRUTHy8iIycsLCwsFR4xQTIqNSYrLSkBCQoKBQUFDQUFDSkYEhgpKSkpKSkpKSkpKSkpKSkpKSkpKSkpKSkpKSkpKSkpKSkpKSkpKSkpKSkpKSkpKSkpKf/AABEIAMwA9wMBIgACEQEDEQH/xAAbAAACAwEBAQAAAAAAAAAAAAAABAMFBgECB//EAEkQAAIBAQMEDQkIAQMDBQEAAAECAwAEERIFEyFTBhQVIzEzUVJzkZKT0iIyQVRxsbLR0wc0QmFiY3Kis0OBoSR0dRY1NsHCCP/EABQBAQAAAAAAAAAAAAAAAAAAAAD/xAAUEQEAAAAAAAAAAAAAAAAAAAAA/9oADAMBAAIRAxEAPwD7PLaXzhRERrkViWcp5xYXABTzf+a5nJtXF3j/AE67H94foo/ilpqgUzk2ri7x/p0ZybVxd4/06booFM5Nq4u8f6dGcm1cXeP9Om6KBTOTauLvH+nRnJtXF3j/AE6booFM5Nq4u8f6dGcm1cXeP9Om6KBTOTauLvH+nRnJtXF3j/TrL5O+0FpctS5KNjwtCpkefPBlzVyFXC4LyTnI9HovOnRV3YNl1kmWV4bVFKsK4pShLZpdOluTzT1Ggdzk2ri7x/p0ZybVxd4/06rZNnNhWBLQ1tgELsUSYtcjuvnKG4CR/wDR5KnynssslnEZtFqihEq4o84cOcGjzb+HhGj86BvOTauLvH+nRnJtXF3j/TqOfL0CWiOzPMizSrijhN+J106VHpHknqqHZRsijsNjltc2IpGAcK6WdmIVUH5liBQNZybVxd4/06M5Nq4u8f6dYXYr9sAtNshslpsEtia0xCazu7iRZkYMVbzVuDBWuOm8i6qu1f8A9ARLLI0eT55bLHMIXtiuo8psWErGRpvCORew0D0UH07OTauLvH+nRnJtXF3j/TrH7LPtjsNiiVlfbUsiJIlniNzZuRQ6u7Eb2CjAgHSbxo9Ij2WfbNZLEqLcbROwUtZYmF8IYBt8e64EXjRw/kKDaZybVxd4/wBOjOTauLvH+nTQNdoFM5Nq4u8f6dGcm1cXeP8ATpuigUzk2ri7x/p0ZybVxd4/06booFM5Nq4u8f6dGcm1cXeP9Om6KBTOTauLvH+nRnJtXF3j/TpuigWs1oYuyOiqQqterFwQxYelRd5v/NFcj+8P0UfxS0UBH94foo/ilpqlY/vD9FH8UtNUBRRRQFFFFAUUUUBRRRQfJtjv/wA5yh/2Q+Gx1P8AZMdGWf8AyU3/AOqNhViefZPlDKcattUxbWSZlZBLKogVgmIDEAYXvI/Llq+H2evFPa3sVuazJbWMk0LRJNhka/FJC5YYCcR4Qw6hQfNNkf8A8Lyb/wB2nvtNfTPtY2ObcyTMqm6WAbbhN9xDxXkge1cS+0jkrxsk+zGO05Ns+TYp2s8NnZXBwCV3KBlUkkgaS7k6NJPopj/0VO00882UM7JLYmsKnMIiQxu2JmCB/KY/meTkuoEfs0tj5QUZXnW5mgWxwryLHcbTLcDozk4YfxiWtXsgyLBarM0FrQPCbnZWZox5BxAllIIAIv4fRSOwfYtudYlsYmz6ozFHKCMgOS5U3E3+UW06OGvOz/ItoteTZrLZJEiklATHIWVc2SM4pKgnSt44PTQfKNg9lGU9kBtkCFLFk6IQ2cHEd7jVo7OgLabz5chvvI4Dw18/yd/7Ba//ACFl+C019m+znYRlbJ7xwSTZP2mHd5o4gxlkLKbjiMYvN+AcPAt1Ze0fYdlBBNYoJrIbJLaUnz0hkEqiISKgKheG6Q3gX3kDSNNAl9p2S4l2O5JtCwxrK8MKvMqqHdRZxcGYC9rsK3X8F1TfbrkyJLPk2ZIY0kkRs5KiqrS3JBdjYDyrrzw8tbn7QvsymteS7HYbJJENq4VxTlkxIkebB8lW0nQaj+077NrTlGz2KKzvZ1azKwcys6gkrGow4UN+lDw3eig+lrwV2uCu0BRRRQFFFFAUUUUBRRRQKx/eH6KP4paKI/vD9FH8UtFBE8xW0PdG771HpUxi7ypecwqXbjery9cHjoRv+ofoo/ilpLZRY89Y5IlMt7YQDCY8YuZTiukIV1F17KfOUMum+6gd22/q8vXB46NuN6vL1weOvncOxm1XPnLLGpkzUxWJohEjR2aeJogpbyTnGW4C8DH51wJGm2FZJls2ejm0qrJFBKSpaSzIt8eO4+egbNknhzd/poL7bjery9cHjo243q8vXB46ZxjlFUmzHJW2rC9mUm+Ro1xIQGjGcQmUEkaVALcuigstuN6vL1weOjbjery9cHjr53FsZtmcd7TDtgSSvJLEjxYZJpbJCiugZh5CTCdBfcRjVrvSHtj2xy1w2yB5TnUJU2h2dTdaYbKIBaUBN5Ehd1bRffGhu0mg223G9Xl64PHRtxvV5euDx0xjHKK7jHKKBbbbery9cHjo22/q8vXB46zuXtjQmyhFKIUZTZ5xLKSuic7W2uTeb9Gae64XDTzjfl//AEraTHZcVlJzUMEMqE2aQsYbLaonNzOAymWWIAk+jFoABoPpW3G9Xl64PHRtxvV5euDx1NEwwjgGgaL77vyvr3jHKKBbbjery9cHjo22/q8vXB46yez3Y5NaZFay6C9knsssiuEZL83PAwvIv32HBo9ExqqtOxm0GYytZsRlsV7qu12CWyV7TK6B2cFcBmj8pb8QQLwUH0Hbjery9cHjo243q8vXB46zmwTJMsAkzq5lGis6LAWVrpo4gs81ykhcTYRoOnNk+nTrMY5RQLbcb1eXrg8dG239Xl64PHXu1QJIhjkCurC5kPAw5DyivmE2wu07TjWODNynJ1viluaC9rRNm1gQnHdeVQjEOD0kUH0zbjery9cHjo243q8vXB46yWxzIU0dsxPFgRbRaZw+KMqUnWEIoAN+IYXBF1wwfmL9tjHKKBbbjery9cHjo22/q8vXB46YxjlFfPdkWxSeaXKEixK2cezmAERFnwizrI6uXGFQElBQ3Yr7+Sg3W3G9Xl64PHRtxvV5euDx1kth+RZ4bYzzxYFFmkhxhozGzm1TyjNqGJSMxyIVU+aLlvJWtrjHKKBfbjery9cHjo243q8vXB46ZxjlFZjZ3k2SeFBAhkdHMixnNtDI2BkzVoVmXyGDsMS6UNzeigvttt6vL1weOjbjery9cHjr59lLY5aZXtDtZseeezWlAXibMyJaFE0VzPdi2qkIJGgiMjhYg/RbNCkaLGgCqihFUcCqouAH+1AvZZS08l6Mm9x6GwG/TLzWNFSRH/qH6KP4paKCM2ZGtD40Rroo/OUNd5UvLU250Wpj7C/KvMf3h+ij+KWmqBfc6LUx9hflRudFqY+wvypiigrrZk+O+Peo+NH4F5G/KmdzotTH2F+Vebbwx9KPc1NUC+50Wpj7C/Kjc6LUx9hflTFFAq+TorjvMXBzF+VQ2DJ8eZj3qPi1/AvIPyp5+A+yocn8TH0a+4UBudFqY+wvyo3Oi1MfYX5UxRQL7nRamPsL8qVsmT48cu9R8aPwLq4vyqypSx+fN0o/xxUHvc6LUx9hflRudFqY+wvypiigX3Oi1MfYX5UtJk+PPoM1H5j/AIF5Y/yqxpWXj4/4P746D1udFqY+wvyo3Oi1MfYX5UxRQL7nRamPsL8qWyjk+MQvvUfBzF+VWNK5T4l/ZQLSmBbQlnMK45EaRd6GHCmENe911/lDRw03udFqY+wvypa15NdrXDOsiKsSupjKMzPnMN5DhgFuwj8J9NWNAvudFqY+wvyrm50Wpj7C/KmaKCpgssawu+11kIkluREjLNdI9yi+4dZAr3kzMzxCRYFXynQo6IGSSNmjdDdeLwysLwSDdoJFdzLvZpEhlEMjPKFlK5zAxkfysN4vu9tS5GsBhgWIlDhvF8augN5JvON3JY33lixJJJ9NBLudFqY+wvyo3Oi1MfYX5UxRQJWaBVncIqrvUfmgLfpl5KK9x/eH6KP4paKAj+8P0UfxS01Ve9mDWhyS4uiTzXkT8UvoUi+oMmzQzhs29ovRgrJI1rhdSQGF6SEG4ggg3XUFvRSu5y86XvZ/FRucvOl72fxUBbeGPpR7mpqqy2ZPW+PypeNA42fkb9Vcvhz+1s7Jnc0Zs3nbReIwQuI+Vo0kDTw6eQ0FpRSu5y86XvZ/FRucvOl72fxUDD8B9lQ5P4mPo19wrw+TluPlS8Gtn8VVrSwwwQmRrR5YVFWM2yZmbAXICR4j5qseD0UF7RSi5PUi/FN/vLOP+MVd3OXnS97P4qBqlLH583Sj/HFXdzl50vez+KkM1HGJ5JJJFRJLyxln0DNxcjaT/wA0FzRSFmsySIHU2gAi8B3tUTf7o5BH+4qXc5edL3s/ioGqVl4+P+D++Ojc5edL3s/ipaTJ655Bil8x/wDVn5Y/1UFnRVPHaIWtG18VqElzMA+3UVlQqGZZGuVgC68BPnCntzl50vez+KgapXKfEv7KNzl50vez+Klso5PUQucUvBrZ/FQWdFU9qtMEcqxPLMHbDoD2pgucYpHjcG5MTgquIi8i4U9ucvOl72fxUDVcpbc5edL3s/io3OXnS97P4qAyd5h6WX/I9NVTJHFFA8skkqqskhLZ2c6BI40ANeSdAuGkk1PYFimjzkbzFbyumS0oyspKsrKzAqQQRcRQWVFK7nLzpe9n8VG5y86XvZ/FQEf3h+ij+KWio7LAFnkALHe4/OZ39MvOJurtB6Xj5LuHNJdfy3y0lkDJskbTySiNDNKJc1E7zKpwqrNnHVSSSOC64AC7009H94foo/ilpqgKKKKBW28MfSj3NVbZ9jWC37aWWQqyTY43IN8kpgII8m/CFhu0nRhQDQKsrbwx9KPc1NUBRRRQeX4D7KoMsZJe0WKJI0jZwgKSSSSwmBzGUEyNGpJYYjovF950ir9+A+yocn8TH0a+4UEsSkKATiIABY6MRHpr3RRQFUeVcmG0Q2iJSt+fjkAYsqsYhZ5QjFdIDYMJI0gG/TV5Slj8+bpR/jioIcgWB4bOI5CCcbsFVmdY0d2dIVZgCyopCgkDzeADQLGiigKVl4+P+D++OmqVl4+P+D++OghsuTmFpltEhUllWKIC/e4VGI33/iaRmJu9Cx8lWFFFAUrlPiX9lNUrlPiX9lBTZY2OSS22O0KUAXM3MWdWjzUrSSDNgXTB1KqMZGAriGmtHRRQFFFFBVS2ITWWWIqHxPLcpZovLEjlTnFBKEMAcQBIuvr1seyU0EJV2xO8rzOcTP5TknDiYAtcMIvuF919w4Azk7zD0sv+R6aoCiiigVj+8P0UfxS0UR/eH6KP4paKCJoS1oe6R03qPQojN/lS85TUu1G18vVD4KE49+ij+KWsFbYGay3CK1OBugIQ8dqZ1tkkoexS+WMQOAvhkOhb+EGg3u1G18vVD4KNqNr5eqHwUyvBprtBWWyytfHv8vGj0Q8jfopnaja+Xqh8FFt4Y+lHuaqdyBb7ViFpwtYogWUWrDiUzYhEyi4NhePRGcRJ5RQXG1G18vVD4KNqNr5eqHwUpsVJ3PswYOrCzRqyyK6OHVQrBlYAg3g8NWtAo9ka47/LwckPgqGwWVszHv8ALxa+iHkH6KffgPsrPZe+4QECYkTWV7oRM5uWSJnLLECSuAOSCLtHsoLnaja+Xqh8FG1G18vVD4KpMlopynM6QyQ4Y2jYmKZBanLIzTNIVwsFuCppJ8qT8N1+loFdqNr5eqHwUrZLK2Obf5eNHoh1cX6KtKrZLsFpxY7sRvzecx3ZqPzc35V/8dNAxtRtfL1Q+Cjaja+Xqh8FZGzw4hkwiGXPpHCJC0FoSQRqjKwM7ACNVbGWQ6X8kaL1v3FArtRtfL1Q+ClpLK2fTf5fMf0Q8sf6Ks6Vl4+P+D++OgNqNr5eqHwUbUbXy9UPgrP2mKZrZa0s+cUvHZ/LlNpjjuUy55YZSrBWwsnmaAWvuvvqz2IxOuTrMsqlHWzorIS5KkKBccQBvuuvvHDfw8NA7tRtfL1Q+Clso2Vsy+/y8HJD4Ks6VynxL+ygNqNr5eqHwUbUbXy9UPgqpyyP+vg4+42edGZFndFxBMN4UFQ2hrr9Po9NR7BYM3Z3jCAIkgRJhDJZWtCiOO+V45NOLFiUn04KC62o2vl6ofBRtRtfL1Q+CmqKCssFlbAd/l42T0Q6x/0UztRtfL1Q+CoobsxJixXY5r8GPFdjkvw4PKvu4MOnk01jbAJg1gYxO+CyWSNY54J2Ky42jtjlzdmZEQI2JxewW4X3m8NvtRtfL1Q+Cjaja+Xqh8FNUUCNliKzyXuz73HpbALtMvNArte4/vD9FH8UtFAR/eH6KP4paapBse2HwYOKjvxYudLyVLv37X96Bqild+/a/vRv37X96AtvDH0o9zU1VbbM7fHxXGjn8jUxv37X96Bqild+/a/vRv37X96Bh+A+yocn8TH0a+4V4fO3HiuD9dQ2DO5mPiuLXn8goLGild+/a/vRv37X96BqlLH583Sj/HFXd+/a/vS1kzuObiuNHP1cVBZ0Urvv7X96N+/a/vQNUrLx8f8AB/fHRv37X96XlzufTivMfn8sdBZUUrv37X96N+/a/vQNUrlPiX9lG/ftf3pfKOdzL8VwfroLKild+/a/vRv37X96Bqild+/a/vRv37X96Ayf5h6WX/I9NVWZPzuA8VxsnP1j0zvv7X96Bqild+/a/vRv37X96Aj+8P0UfxS0VHZcWfkx4eKjuw38svLXaD2nHv0UfxS1lpbbJJY2C2yQzm3TWWF4jEuJzI6pjUKb1jjUuRw4YzWpj+8P0UfxS1LFZEXzY0XTi8lVGm66/R6btFB7QXAC8m4XXm68/mbq9UUUCtt4Y+lHuas3l/K8iS2tEtAF0FkMaEoubaaaSJ/KuJQMAgLkHBeGuN1x0lt4Y+lHuapGsaEsTGhLLhYlVJZToKk+kXAaPyoK3Ypa2ksitIzMwkljJYqxGblkQJjGh8IULi/Fhv8ATVxXmOMKoVQFAFwVQAABwAAcAr1QeX4D7KosrWxorHZ3WbNb/ZUYnB5cbyRI8flcF6s3Bp0VevwH2UrZbOrwRh0Vxm1NzAML8N19x9poKLI1un3RkhlZ2GCaRhigeNFEqLZcAQ4o74i4IcC9ozdfcTWpqOOBVLFVVSxxMVABZuC83cJqSgKqLbaESK0vLM0CBwWlQgMowQ6F0HSeAAC8k6NN1W9JWeIM0ysoYGUXqwBB3uLhBoMfZMrziWIPaWLA2YLBihfOx2iedJBIUG+OkKLeVNwaFjwE372oEsUYKlY4wUvCkKowBvOC6NF/puqegKVl4+P+D++OmqVl4+P+D++OgzNuykwktpgtrYYrNIWLtC4jtS3FViUjQEW9WvvF7qNLK12oyfNjhje8NijVsQuN5IGnRQbBHexzUd7C5jhW9hw3E3adIHVU0cYUBVAUDQFAAAHIAKD1SuU+Jf2U1SuU+Jf2UFRlu2XW2COO0sj3h5IS0YjFm8oM7qwvLMblW433reNCvXvYjazJHK4naeIzbw8jI7mLAl7EqB5LOJGW/ThYcAIAuJLIjMGaNGYcDMqkj06CeCuwWVEvCIiXm8hFC3nlN1BLRRRQVjzKllleSUwopmLTAgGNQ8l7gkG672Vm0yhIIrLIbW+I2tUzbSQs+1pZykayRBd8coVQ6QU0t5RU4tZYkBjYMAQZZQQdIIzj6CK9pk+JSpWKMFb8JCqCuLhwm7Rf+VAxRRRQKx/eH6KP4paKI/vD9FH8UtFBE0rC0PhjL71HpvUXeVLy1Ltl9Se0leWYCWQsbgIUJOkXC+a81hJbfM1ikksUkkkJnzoAtDPPCiiERxMzksodhJIy33gMF0XtcG92xJqD2ko2xJqD2kpkV2grbZaHvj3k8aPxJyNTG2X1J7SUW3hj6Ue5qymW7Sj2u0Rx202ZkszJK0k8qrnHERQpFjGBUQEl0w8Zwk47g1e2H1J7SUbYk1B7SUnsVtOOyI1x8+RQxklnEgV3USrJISzIwAYXngYXXi41bUCj2h7jvJ4OclQ2C0PmY95PFr+JOQU+/AfZWW2U2pFsESGVoZJFCQyiWSzrHKU46RlIBVBe2Fr7yAACSKDQ7Yk1J7SUbYk1B7SVnNjmUXa3zLI2cLGYkB5f+njilVYFaInCokiZXVgAThY+VebtbQK7Yk1B7SUtZLQ+ObeTxo/Emriqzqkynao44LU85cRhxizbPG58iEBVZSCCSQOEDTpIF9BY7ZfUntJRtiTUHtJWXyVAZGsaraJZGVTPLLFaJ5IhCjMI7OSGwynGwTEwJZYHv03VsqBXbEmoPaSl5LQ+fTeT5j/iTljqypWXj4/4P746A2y+pPaSjbEmpPaSsTlnKKma0Zi0sgWSOKVJJ5rjJn487IVxXwQKt8ZZbgc4dFygnVbFJmawws5ctg0s5LFriQGDHS6kAFWOkrcTpJoHNsSag9pKXyjaHzL7yeDnJVlSuU+Jf2UBth9Se0lG2H1J7SVQ7IrSu3YIY7QYJyMeJpXWPNnGqpmS2GV3fRdcSApN4IW/mwSWRklxPnIwyKkmee1q8gRc80czgYlLXcGgHFwG8AL/AGxJqD2ko2xJqD2kpqigrMn2h8B3k8bJ+JNY9M7ZfUntJS+NBZpDK5RMcuNwzR4Vzj3tjUgr7QRdWIsVukvjBnlJEsYsuGWZ0nvtjraMBJ3+MQZsXvfcl5Fw00G/2xJqD2ko2xJqD2kpqigRssjGeTEmDeo9F4N+mXkrte4/vD9FH8UtFAR/eH6KP4paapB7SFtD3hzfFH5qSP8Ail9Kg1LuivNl7qfw0DVFK7orzZe6n8NG6K82Xup/DQFt4Y+lHuamqrLZlBb4/Jl40Hip+Rv00zuivNl7qfw0DVFK7orzZe6n8NG6K82Xup/DQMPwH2VDk/iY+jX3CvD5RW4+TLwaqfw1DYMoLmY/Jl4tf9KfkH6aCxopXdFebL3U/ho3RXmy91P4aBqlLH583Sj/ABxV3dFebL3U/hpWyZQXHL5MvGj/AEp9XF+mgtKKV3RXmy91P4aN0V5svdT+GgapWXj4/wCD++OjdFebL3U/hpaTKC59Dhl8x/8ASn5Y/wBNBZ0UruivNl7qfw0borzZe6n8NA1SuU+Jf2UborzZe6n8NLZRygphcYZeDVT+Ggs6KV3RXmy91P4aN0V5svdT+GgaopXdFebL3U/ho3RXmy91P4aAyf5h6WX/ACPTVVtitoVSCso3yQ8VNwM7EHzeQimN0V5svdT+GgaopXdFebL3U/ho3RXmy91P4aAj+8P0UfxS0VHZZw08hAYb3H5yunpl5wF9doPace/RR++Ws2mVLQglRpsTRZQs0V80ceNrPO8KMRmiFAYu5U3EgC4i/SNIovncHSM0guPp0y0uuxuyiPNCyWfN487m82mHOAXB7rvOAAAPoAHJQWIrtFFArbeGPpR7mpqlbbwx9KPc1NUBRRRQeX4D7KhyfxMfRr7hUz8B9lQ5P4mPo19woGKKKKApSx+fN0o/xxU3Slj8+bpR/jioG6KKKApWXj4/4P746apWXj4/4P746BqiiigKVynxL+ymqVynxL+ygaoqqyjbLQryCOHEqwl0IXEWkANy3Y1v03DDovvvxClLLb7aSMdniUZ3Cbr783jhGIeVzHmOnV8A4CGgorPPly2AkDJZIBcBs/HpCC8NddwPwL+fDcNNRTZatocFbBemZDmMkFhKTpjx4gDcLuBeXhoNNRWbbLNtJI2jm1uUh8SzkG/SMAZMRuI9IAuJvPBXVy5bMRG5puvOEmVV0KwAv0HhGn/jTw0GjorO2fLdsJIbJ5QXMQ2NTdcGwrd+I4govvA0k8FxMliyra2mVZLEEjbCMQkDFD5RZjo0i7ALtGkNpN4oLSP7w/RR/FLRRH94foo/ilooIzaUW0PjdVvijuxELf5UvLU26MWuj7a/OpytcwDkFBDujFro+2vzo3Ri10fbX51NgHIKMA5BQIWy3x3x77HxoPnryN+dM7oxa6Ptr86nwDkFcwDkFBDujFro+2vzo3Ri10fbX51NgHIKMA5BQLvlCK477Hwc9fnUNgyhHmY99j4tfxLyD86ewDkFGAcgoId0YtdH21+dG6MWuj7a/OpsA5BRgHIKCHdGLXR9tfnStkt8eOXfY+NH4l1cX51YYByCu4ByCgg3Ri10fbX50boxa6Ptr86mwDkFGAcgoId0YtdH21+dLSW+PPoc7H5j/jXlT86fwDkFdwDkFBBujFro+2vzo3Ri10fbX51NgHIKMA5BQQ7oxa6Ptr86Wyjb4zC4EsfBz1+dP4ByCu4ByCgg3Ri1sfbX50boxa6Ptr86mwDkFGAcgoId0YtdH21+dG6MWtj7a/OpsA5BRgHIKCHdGLXR9tfnRujFrY+2vzqbAOQUYByCgh3Ri1sfbX50boxa6Ptr86mwDkFGAcgoFLNOrTuVZW3uPzSGu0y8lFOAUUH/2Q=="/>
          <p:cNvSpPr>
            <a:spLocks noChangeAspect="1" noChangeArrowheads="1"/>
          </p:cNvSpPr>
          <p:nvPr/>
        </p:nvSpPr>
        <p:spPr bwMode="auto">
          <a:xfrm>
            <a:off x="79375" y="-727075"/>
            <a:ext cx="1828800" cy="1504950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" name="Rectangle 7"/>
          <p:cNvSpPr>
            <a:spLocks noChangeArrowheads="1"/>
          </p:cNvSpPr>
          <p:nvPr/>
        </p:nvSpPr>
        <p:spPr bwMode="gray">
          <a:xfrm>
            <a:off x="1066800" y="1295400"/>
            <a:ext cx="8229600" cy="533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9" tIns="36571" rIns="36571" bIns="36571"/>
          <a:lstStyle/>
          <a:p>
            <a:pPr marL="458788" lvl="1" indent="-457200" algn="just" defTabSz="1019175" eaLnBrk="0" hangingPunct="0">
              <a:buClr>
                <a:schemeClr val="folHlink"/>
              </a:buClr>
              <a:buSzPct val="125000"/>
              <a:buFont typeface="Wingdings" pitchFamily="2" charset="2"/>
              <a:buChar char="§"/>
            </a:pPr>
            <a:endParaRPr lang="en-US" sz="2400" b="1" dirty="0" smtClean="0">
              <a:solidFill>
                <a:schemeClr val="bg2"/>
              </a:solidFill>
            </a:endParaRPr>
          </a:p>
          <a:p>
            <a:pPr marL="458788" lvl="3" indent="-457200" algn="just" defTabSz="1019175" eaLnBrk="0" hangingPunct="0">
              <a:buClr>
                <a:schemeClr val="folHlink"/>
              </a:buClr>
              <a:buSzPct val="125000"/>
              <a:buFont typeface="Wingdings" pitchFamily="2" charset="2"/>
              <a:buChar char="§"/>
            </a:pPr>
            <a:r>
              <a:rPr lang="en-US" sz="2300" b="1" dirty="0" smtClean="0">
                <a:solidFill>
                  <a:schemeClr val="accent1"/>
                </a:solidFill>
                <a:sym typeface="Wingdings" pitchFamily="2" charset="2"/>
              </a:rPr>
              <a:t>Make the case that using Connexxus for business travel (and personal travel, too!) is worth everybody’s time and attention – it saves UC some serious dough</a:t>
            </a:r>
          </a:p>
          <a:p>
            <a:pPr marL="1373188" lvl="3" indent="-457200" algn="just" defTabSz="1019175" eaLnBrk="0" hangingPunct="0">
              <a:buClr>
                <a:schemeClr val="folHlink"/>
              </a:buClr>
              <a:buSzPct val="125000"/>
              <a:buFont typeface="Wingdings" pitchFamily="2" charset="2"/>
              <a:buChar char="§"/>
            </a:pPr>
            <a:endParaRPr lang="en-US" sz="2300" b="1" dirty="0" smtClean="0">
              <a:solidFill>
                <a:schemeClr val="accent1"/>
              </a:solidFill>
              <a:sym typeface="Wingdings" pitchFamily="2" charset="2"/>
            </a:endParaRPr>
          </a:p>
          <a:p>
            <a:pPr marL="458788" lvl="3" indent="-457200" algn="just" defTabSz="1019175" eaLnBrk="0" hangingPunct="0">
              <a:buClr>
                <a:schemeClr val="folHlink"/>
              </a:buClr>
              <a:buSzPct val="125000"/>
              <a:buFont typeface="Wingdings" pitchFamily="2" charset="2"/>
              <a:buChar char="§"/>
            </a:pPr>
            <a:r>
              <a:rPr lang="en-US" sz="2300" b="1" dirty="0" smtClean="0">
                <a:solidFill>
                  <a:schemeClr val="accent1"/>
                </a:solidFill>
                <a:sym typeface="Wingdings" pitchFamily="2" charset="2"/>
              </a:rPr>
              <a:t>Recommend that folks visit the UCOP travel site:</a:t>
            </a:r>
          </a:p>
          <a:p>
            <a:pPr marL="506413" lvl="3" indent="4763" algn="just" defTabSz="1019175" eaLnBrk="0" hangingPunct="0">
              <a:buClr>
                <a:schemeClr val="folHlink"/>
              </a:buClr>
              <a:buSzPct val="125000"/>
            </a:pPr>
            <a:r>
              <a:rPr lang="en-US" sz="2300" b="1" dirty="0" smtClean="0">
                <a:solidFill>
                  <a:schemeClr val="accent1"/>
                </a:solidFill>
                <a:sym typeface="Wingdings" pitchFamily="2" charset="2"/>
                <a:hlinkClick r:id="rId4"/>
              </a:rPr>
              <a:t>http://www.ucop.edu/ucoptravel/</a:t>
            </a:r>
            <a:endParaRPr lang="en-US" sz="2300" b="1" dirty="0" smtClean="0">
              <a:solidFill>
                <a:schemeClr val="accent1"/>
              </a:solidFill>
              <a:sym typeface="Wingdings" pitchFamily="2" charset="2"/>
            </a:endParaRPr>
          </a:p>
          <a:p>
            <a:pPr marL="1373188" lvl="3" indent="-457200" algn="just" defTabSz="1019175" eaLnBrk="0" hangingPunct="0">
              <a:buClr>
                <a:schemeClr val="folHlink"/>
              </a:buClr>
              <a:buSzPct val="125000"/>
              <a:buFont typeface="Wingdings" pitchFamily="2" charset="2"/>
              <a:buChar char="§"/>
            </a:pPr>
            <a:endParaRPr lang="en-US" sz="2300" b="1" dirty="0" smtClean="0">
              <a:solidFill>
                <a:schemeClr val="accent1"/>
              </a:solidFill>
              <a:sym typeface="Wingdings" pitchFamily="2" charset="2"/>
            </a:endParaRPr>
          </a:p>
          <a:p>
            <a:pPr marL="458788" lvl="3" indent="-457200" algn="just" defTabSz="1019175" eaLnBrk="0" hangingPunct="0">
              <a:buClr>
                <a:schemeClr val="folHlink"/>
              </a:buClr>
              <a:buSzPct val="125000"/>
              <a:buFont typeface="Wingdings" pitchFamily="2" charset="2"/>
              <a:buChar char="§"/>
            </a:pPr>
            <a:r>
              <a:rPr lang="en-US" sz="2300" b="1" dirty="0" smtClean="0">
                <a:solidFill>
                  <a:schemeClr val="accent1"/>
                </a:solidFill>
                <a:sym typeface="Wingdings" pitchFamily="2" charset="2"/>
              </a:rPr>
              <a:t>Assure colleagues that the UCOP Central Travel Management office is committed to making Connexxus work for everyone.  They can be contacted at </a:t>
            </a:r>
            <a:r>
              <a:rPr lang="en-US" sz="2400" b="1" dirty="0" smtClean="0">
                <a:latin typeface="+mn-lt"/>
                <a:hlinkClick r:id="rId5"/>
              </a:rPr>
              <a:t>UCTravel@ucop.edu</a:t>
            </a:r>
            <a:r>
              <a:rPr lang="en-US" sz="2400" b="1" dirty="0" smtClean="0">
                <a:latin typeface="+mn-lt"/>
              </a:rPr>
              <a:t>    </a:t>
            </a:r>
            <a:endParaRPr lang="en-US" sz="2300" b="1" dirty="0" smtClean="0">
              <a:solidFill>
                <a:schemeClr val="accent1"/>
              </a:solidFill>
              <a:latin typeface="+mn-lt"/>
              <a:sym typeface="Wingdings" pitchFamily="2" charset="2"/>
            </a:endParaRPr>
          </a:p>
        </p:txBody>
      </p:sp>
      <p:sp>
        <p:nvSpPr>
          <p:cNvPr id="7" name="Oval 6"/>
          <p:cNvSpPr/>
          <p:nvPr/>
        </p:nvSpPr>
        <p:spPr bwMode="auto">
          <a:xfrm>
            <a:off x="8915400" y="152400"/>
            <a:ext cx="990600" cy="990600"/>
          </a:xfrm>
          <a:prstGeom prst="ellips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8879775" y="480950"/>
            <a:ext cx="10668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Connexxus</a:t>
            </a:r>
            <a:endParaRPr lang="en-US" dirty="0"/>
          </a:p>
        </p:txBody>
      </p:sp>
    </p:spTree>
    <p:custDataLst>
      <p:tags r:id="rId1"/>
    </p:custDataLst>
  </p:cSld>
  <p:clrMapOvr>
    <a:masterClrMapping/>
  </p:clrMapOvr>
  <p:transition xmlns:p14="http://schemas.microsoft.com/office/powerpoint/2010/main">
    <p:cut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Rectangle 2"/>
          <p:cNvSpPr>
            <a:spLocks noGrp="1" noChangeArrowheads="1"/>
          </p:cNvSpPr>
          <p:nvPr>
            <p:ph type="title"/>
          </p:nvPr>
        </p:nvSpPr>
        <p:spPr>
          <a:xfrm>
            <a:off x="762000" y="838200"/>
            <a:ext cx="8001000" cy="304800"/>
          </a:xfrm>
        </p:spPr>
        <p:txBody>
          <a:bodyPr/>
          <a:lstStyle/>
          <a:p>
            <a:pPr lvl="1"/>
            <a:r>
              <a:rPr lang="en-US" sz="2300" dirty="0" smtClean="0"/>
              <a:t>Case Study C:  Day in the life of Capital Markets Finance</a:t>
            </a:r>
          </a:p>
        </p:txBody>
      </p:sp>
      <p:sp>
        <p:nvSpPr>
          <p:cNvPr id="93188" name="AutoShape 4" descr="data:image/jpg;base64,/9j/4AAQSkZJRgABAQAAAQABAAD/2wCEAAkGBhQSDhQQEA8QEBQUEBkQFA4QFhEQFBAQFBwWFRUQFRQYHycqFxkjGRUTHy8iIycsLCwsFR4xQTIqNSYrLSkBCQoKBQUFDQUFDSkYEhgpKSkpKSkpKSkpKSkpKSkpKSkpKSkpKSkpKSkpKSkpKSkpKSkpKSkpKSkpKSkpKSkpKf/AABEIAMwA9wMBIgACEQEDEQH/xAAbAAACAwEBAQAAAAAAAAAAAAAABAMFBgECB//EAEkQAAIBAQMEDQkIAQMDBQEAAAECAwAEERIFEyFTBhQVIzEzUVJzkZKT0iIyQVRxsbLR0wc0QmFiY3Kis0OBoSR0dRY1NsHCCP/EABQBAQAAAAAAAAAAAAAAAAAAAAD/xAAUEQEAAAAAAAAAAAAAAAAAAAAA/9oADAMBAAIRAxEAPwD7PLaXzhRERrkViWcp5xYXABTzf+a5nJtXF3j/AE67H94foo/ilpqgUzk2ri7x/p0ZybVxd4/06booFM5Nq4u8f6dGcm1cXeP9Om6KBTOTauLvH+nRnJtXF3j/AE6booFM5Nq4u8f6dGcm1cXeP9Om6KBTOTauLvH+nRnJtXF3j/TrL5O+0FpctS5KNjwtCpkefPBlzVyFXC4LyTnI9HovOnRV3YNl1kmWV4bVFKsK4pShLZpdOluTzT1Ggdzk2ri7x/p0ZybVxd4/06rZNnNhWBLQ1tgELsUSYtcjuvnKG4CR/wDR5KnynssslnEZtFqihEq4o84cOcGjzb+HhGj86BvOTauLvH+nRnJtXF3j/TqOfL0CWiOzPMizSrijhN+J106VHpHknqqHZRsijsNjltc2IpGAcK6WdmIVUH5liBQNZybVxd4/06M5Nq4u8f6dYXYr9sAtNshslpsEtia0xCazu7iRZkYMVbzVuDBWuOm8i6qu1f8A9ARLLI0eT55bLHMIXtiuo8psWErGRpvCORew0D0UH07OTauLvH+nRnJtXF3j/TrH7LPtjsNiiVlfbUsiJIlniNzZuRQ6u7Eb2CjAgHSbxo9Ij2WfbNZLEqLcbROwUtZYmF8IYBt8e64EXjRw/kKDaZybVxd4/wBOjOTauLvH+nTQNdoFM5Nq4u8f6dGcm1cXeP8ATpuigUzk2ri7x/p0ZybVxd4/06booFM5Nq4u8f6dGcm1cXeP9Om6KBTOTauLvH+nRnJtXF3j/TpuigWs1oYuyOiqQqterFwQxYelRd5v/NFcj+8P0UfxS0UBH94foo/ilpqlY/vD9FH8UtNUBRRRQFFFFAUUUUBRRRQfJtjv/wA5yh/2Q+Gx1P8AZMdGWf8AyU3/AOqNhViefZPlDKcattUxbWSZlZBLKogVgmIDEAYXvI/Llq+H2evFPa3sVuazJbWMk0LRJNhka/FJC5YYCcR4Qw6hQfNNkf8A8Lyb/wB2nvtNfTPtY2ObcyTMqm6WAbbhN9xDxXkge1cS+0jkrxsk+zGO05Ns+TYp2s8NnZXBwCV3KBlUkkgaS7k6NJPopj/0VO00882UM7JLYmsKnMIiQxu2JmCB/KY/meTkuoEfs0tj5QUZXnW5mgWxwryLHcbTLcDozk4YfxiWtXsgyLBarM0FrQPCbnZWZox5BxAllIIAIv4fRSOwfYtudYlsYmz6ozFHKCMgOS5U3E3+UW06OGvOz/ItoteTZrLZJEiklATHIWVc2SM4pKgnSt44PTQfKNg9lGU9kBtkCFLFk6IQ2cHEd7jVo7OgLabz5chvvI4Dw18/yd/7Ba//ACFl+C019m+znYRlbJ7xwSTZP2mHd5o4gxlkLKbjiMYvN+AcPAt1Ze0fYdlBBNYoJrIbJLaUnz0hkEqiISKgKheG6Q3gX3kDSNNAl9p2S4l2O5JtCwxrK8MKvMqqHdRZxcGYC9rsK3X8F1TfbrkyJLPk2ZIY0kkRs5KiqrS3JBdjYDyrrzw8tbn7QvsymteS7HYbJJENq4VxTlkxIkebB8lW0nQaj+077NrTlGz2KKzvZ1azKwcys6gkrGow4UN+lDw3eig+lrwV2uCu0BRRRQFFFFAUUUUBRRRQKx/eH6KP4paKI/vD9FH8UtFBE8xW0PdG771HpUxi7ypecwqXbjery9cHjoRv+ofoo/ilpLZRY89Y5IlMt7YQDCY8YuZTiukIV1F17KfOUMum+6gd22/q8vXB46NuN6vL1weOvncOxm1XPnLLGpkzUxWJohEjR2aeJogpbyTnGW4C8DH51wJGm2FZJls2ejm0qrJFBKSpaSzIt8eO4+egbNknhzd/poL7bjery9cHjo243q8vXB46ZxjlFUmzHJW2rC9mUm+Ro1xIQGjGcQmUEkaVALcuigstuN6vL1weOjbjery9cHjr53FsZtmcd7TDtgSSvJLEjxYZJpbJCiugZh5CTCdBfcRjVrvSHtj2xy1w2yB5TnUJU2h2dTdaYbKIBaUBN5Ehd1bRffGhu0mg223G9Xl64PHRtxvV5euDx0xjHKK7jHKKBbbbery9cHjo22/q8vXB46zuXtjQmyhFKIUZTZ5xLKSuic7W2uTeb9Gae64XDTzjfl//AEraTHZcVlJzUMEMqE2aQsYbLaonNzOAymWWIAk+jFoABoPpW3G9Xl64PHRtxvV5euDx1NEwwjgGgaL77vyvr3jHKKBbbjery9cHjo22/q8vXB46yez3Y5NaZFay6C9knsssiuEZL83PAwvIv32HBo9ExqqtOxm0GYytZsRlsV7qu12CWyV7TK6B2cFcBmj8pb8QQLwUH0Hbjery9cHjo243q8vXB46zmwTJMsAkzq5lGis6LAWVrpo4gs81ykhcTYRoOnNk+nTrMY5RQLbcb1eXrg8dG239Xl64PHXu1QJIhjkCurC5kPAw5DyivmE2wu07TjWODNynJ1viluaC9rRNm1gQnHdeVQjEOD0kUH0zbjery9cHjo243q8vXB46yWxzIU0dsxPFgRbRaZw+KMqUnWEIoAN+IYXBF1wwfmL9tjHKKBbbjery9cHjo22/q8vXB46YxjlFfPdkWxSeaXKEixK2cezmAERFnwizrI6uXGFQElBQ3Yr7+Sg3W3G9Xl64PHRtxvV5euDx1kth+RZ4bYzzxYFFmkhxhozGzm1TyjNqGJSMxyIVU+aLlvJWtrjHKKBfbjery9cHjo243q8vXB46ZxjlFZjZ3k2SeFBAhkdHMixnNtDI2BkzVoVmXyGDsMS6UNzeigvttt6vL1weOjbjery9cHjr59lLY5aZXtDtZseeezWlAXibMyJaFE0VzPdi2qkIJGgiMjhYg/RbNCkaLGgCqihFUcCqouAH+1AvZZS08l6Mm9x6GwG/TLzWNFSRH/qH6KP4paKCM2ZGtD40Rroo/OUNd5UvLU250Wpj7C/KvMf3h+ij+KWmqBfc6LUx9hflRudFqY+wvypiigrrZk+O+Peo+NH4F5G/KmdzotTH2F+Vebbwx9KPc1NUC+50Wpj7C/Kjc6LUx9hflTFFAq+TorjvMXBzF+VQ2DJ8eZj3qPi1/AvIPyp5+A+yocn8TH0a+4UBudFqY+wvyo3Oi1MfYX5UxRQL7nRamPsL8qVsmT48cu9R8aPwLq4vyqypSx+fN0o/xxUHvc6LUx9hflRudFqY+wvypiigX3Oi1MfYX5UtJk+PPoM1H5j/AIF5Y/yqxpWXj4/4P746D1udFqY+wvyo3Oi1MfYX5UxRQL7nRamPsL8qWyjk+MQvvUfBzF+VWNK5T4l/ZQLSmBbQlnMK45EaRd6GHCmENe911/lDRw03udFqY+wvypa15NdrXDOsiKsSupjKMzPnMN5DhgFuwj8J9NWNAvudFqY+wvyrm50Wpj7C/KmaKCpgssawu+11kIkluREjLNdI9yi+4dZAr3kzMzxCRYFXynQo6IGSSNmjdDdeLwysLwSDdoJFdzLvZpEhlEMjPKFlK5zAxkfysN4vu9tS5GsBhgWIlDhvF8augN5JvON3JY33lixJJJ9NBLudFqY+wvyo3Oi1MfYX5UxRQJWaBVncIqrvUfmgLfpl5KK9x/eH6KP4paKAj+8P0UfxS01Ve9mDWhyS4uiTzXkT8UvoUi+oMmzQzhs29ovRgrJI1rhdSQGF6SEG4ggg3XUFvRSu5y86XvZ/FRucvOl72fxUBbeGPpR7mpqqy2ZPW+PypeNA42fkb9Vcvhz+1s7Jnc0Zs3nbReIwQuI+Vo0kDTw6eQ0FpRSu5y86XvZ/FRucvOl72fxUDD8B9lQ5P4mPo19wrw+TluPlS8Gtn8VVrSwwwQmRrR5YVFWM2yZmbAXICR4j5qseD0UF7RSi5PUi/FN/vLOP+MVd3OXnS97P4qBqlLH583Sj/HFXdzl50vez+KkM1HGJ5JJJFRJLyxln0DNxcjaT/wA0FzRSFmsySIHU2gAi8B3tUTf7o5BH+4qXc5edL3s/ioGqVl4+P+D++Ojc5edL3s/ipaTJ655Bil8x/wDVn5Y/1UFnRVPHaIWtG18VqElzMA+3UVlQqGZZGuVgC68BPnCntzl50vez+KgapXKfEv7KNzl50vez+Klso5PUQucUvBrZ/FQWdFU9qtMEcqxPLMHbDoD2pgucYpHjcG5MTgquIi8i4U9ucvOl72fxUDVcpbc5edL3s/io3OXnS97P4qAyd5h6WX/I9NVTJHFFA8skkqqskhLZ2c6BI40ANeSdAuGkk1PYFimjzkbzFbyumS0oyspKsrKzAqQQRcRQWVFK7nLzpe9n8VG5y86XvZ/FQEf3h+ij+KWio7LAFnkALHe4/OZ39MvOJurtB6Xj5LuHNJdfy3y0lkDJskbTySiNDNKJc1E7zKpwqrNnHVSSSOC64AC7009H94foo/ilpqgKKKKBW28MfSj3NVbZ9jWC37aWWQqyTY43IN8kpgII8m/CFhu0nRhQDQKsrbwx9KPc1NUBRRRQeX4D7KoMsZJe0WKJI0jZwgKSSSSwmBzGUEyNGpJYYjovF950ir9+A+yocn8TH0a+4UEsSkKATiIABY6MRHpr3RRQFUeVcmG0Q2iJSt+fjkAYsqsYhZ5QjFdIDYMJI0gG/TV5Slj8+bpR/jioIcgWB4bOI5CCcbsFVmdY0d2dIVZgCyopCgkDzeADQLGiigKVl4+P+D++OmqVl4+P+D++OghsuTmFpltEhUllWKIC/e4VGI33/iaRmJu9Cx8lWFFFAUrlPiX9lNUrlPiX9lBTZY2OSS22O0KUAXM3MWdWjzUrSSDNgXTB1KqMZGAriGmtHRRQFFFFBVS2ITWWWIqHxPLcpZovLEjlTnFBKEMAcQBIuvr1seyU0EJV2xO8rzOcTP5TknDiYAtcMIvuF919w4Azk7zD0sv+R6aoCiiigVj+8P0UfxS0UR/eH6KP4paKCJoS1oe6R03qPQojN/lS85TUu1G18vVD4KE49+ij+KWsFbYGay3CK1OBugIQ8dqZ1tkkoexS+WMQOAvhkOhb+EGg3u1G18vVD4KNqNr5eqHwUyvBprtBWWyytfHv8vGj0Q8jfopnaja+Xqh8FFt4Y+lHuaqdyBb7ViFpwtYogWUWrDiUzYhEyi4NhePRGcRJ5RQXG1G18vVD4KNqNr5eqHwUpsVJ3PswYOrCzRqyyK6OHVQrBlYAg3g8NWtAo9ka47/LwckPgqGwWVszHv8ALxa+iHkH6KffgPsrPZe+4QECYkTWV7oRM5uWSJnLLECSuAOSCLtHsoLnaja+Xqh8FG1G18vVD4KpMlopynM6QyQ4Y2jYmKZBanLIzTNIVwsFuCppJ8qT8N1+loFdqNr5eqHwUrZLK2Obf5eNHoh1cX6KtKrZLsFpxY7sRvzecx3ZqPzc35V/8dNAxtRtfL1Q+Cjaja+Xqh8FZGzw4hkwiGXPpHCJC0FoSQRqjKwM7ACNVbGWQ6X8kaL1v3FArtRtfL1Q+ClpLK2fTf5fMf0Q8sf6Ks6Vl4+P+D++OgNqNr5eqHwUbUbXy9UPgrP2mKZrZa0s+cUvHZ/LlNpjjuUy55YZSrBWwsnmaAWvuvvqz2IxOuTrMsqlHWzorIS5KkKBccQBvuuvvHDfw8NA7tRtfL1Q+Clso2Vsy+/y8HJD4Ks6VynxL+ygNqNr5eqHwUbUbXy9UPgqpyyP+vg4+42edGZFndFxBMN4UFQ2hrr9Po9NR7BYM3Z3jCAIkgRJhDJZWtCiOO+V45NOLFiUn04KC62o2vl6ofBRtRtfL1Q+CmqKCssFlbAd/l42T0Q6x/0UztRtfL1Q+CoobsxJixXY5r8GPFdjkvw4PKvu4MOnk01jbAJg1gYxO+CyWSNY54J2Ky42jtjlzdmZEQI2JxewW4X3m8NvtRtfL1Q+Cjaja+Xqh8FNUUCNliKzyXuz73HpbALtMvNArte4/vD9FH8UtFAR/eH6KP4paapBse2HwYOKjvxYudLyVLv37X96Bqild+/a/vRv37X96AtvDH0o9zU1VbbM7fHxXGjn8jUxv37X96Bqild+/a/vRv37X96Bh+A+yocn8TH0a+4V4fO3HiuD9dQ2DO5mPiuLXn8goLGild+/a/vRv37X96BqlLH583Sj/HFXd+/a/vS1kzuObiuNHP1cVBZ0Urvv7X96N+/a/vQNUrLx8f8AB/fHRv37X96XlzufTivMfn8sdBZUUrv37X96N+/a/vQNUrlPiX9lG/ftf3pfKOdzL8VwfroLKild+/a/vRv37X96Bqild+/a/vRv37X96Ayf5h6WX/I9NVWZPzuA8VxsnP1j0zvv7X96Bqild+/a/vRv37X96Aj+8P0UfxS0VHZcWfkx4eKjuw38svLXaD2nHv0UfxS1lpbbJJY2C2yQzm3TWWF4jEuJzI6pjUKb1jjUuRw4YzWpj+8P0UfxS1LFZEXzY0XTi8lVGm66/R6btFB7QXAC8m4XXm68/mbq9UUUCtt4Y+lHuas3l/K8iS2tEtAF0FkMaEoubaaaSJ/KuJQMAgLkHBeGuN1x0lt4Y+lHuapGsaEsTGhLLhYlVJZToKk+kXAaPyoK3Ypa2ksitIzMwkljJYqxGblkQJjGh8IULi/Fhv8ATVxXmOMKoVQFAFwVQAABwAAcAr1QeX4D7KosrWxorHZ3WbNb/ZUYnB5cbyRI8flcF6s3Bp0VevwH2UrZbOrwRh0Vxm1NzAML8N19x9poKLI1un3RkhlZ2GCaRhigeNFEqLZcAQ4o74i4IcC9ozdfcTWpqOOBVLFVVSxxMVABZuC83cJqSgKqLbaESK0vLM0CBwWlQgMowQ6F0HSeAAC8k6NN1W9JWeIM0ysoYGUXqwBB3uLhBoMfZMrziWIPaWLA2YLBihfOx2iedJBIUG+OkKLeVNwaFjwE372oEsUYKlY4wUvCkKowBvOC6NF/puqegKVl4+P+D++OmqVl4+P+D++OgzNuykwktpgtrYYrNIWLtC4jtS3FViUjQEW9WvvF7qNLK12oyfNjhje8NijVsQuN5IGnRQbBHexzUd7C5jhW9hw3E3adIHVU0cYUBVAUDQFAAAHIAKD1SuU+Jf2U1SuU+Jf2UFRlu2XW2COO0sj3h5IS0YjFm8oM7qwvLMblW433reNCvXvYjazJHK4naeIzbw8jI7mLAl7EqB5LOJGW/ThYcAIAuJLIjMGaNGYcDMqkj06CeCuwWVEvCIiXm8hFC3nlN1BLRRRQVjzKllleSUwopmLTAgGNQ8l7gkG672Vm0yhIIrLIbW+I2tUzbSQs+1pZykayRBd8coVQ6QU0t5RU4tZYkBjYMAQZZQQdIIzj6CK9pk+JSpWKMFb8JCqCuLhwm7Rf+VAxRRRQKx/eH6KP4paKI/vD9FH8UtFBE0rC0PhjL71HpvUXeVLy1Ltl9Se0leWYCWQsbgIUJOkXC+a81hJbfM1ikksUkkkJnzoAtDPPCiiERxMzksodhJIy33gMF0XtcG92xJqD2ko2xJqD2kpkV2grbZaHvj3k8aPxJyNTG2X1J7SUW3hj6Ue5qymW7Sj2u0Rx202ZkszJK0k8qrnHERQpFjGBUQEl0w8Zwk47g1e2H1J7SUbYk1B7SUnsVtOOyI1x8+RQxklnEgV3USrJISzIwAYXngYXXi41bUCj2h7jvJ4OclQ2C0PmY95PFr+JOQU+/AfZWW2U2pFsESGVoZJFCQyiWSzrHKU46RlIBVBe2Fr7yAACSKDQ7Yk1J7SUbYk1B7SVnNjmUXa3zLI2cLGYkB5f+njilVYFaInCokiZXVgAThY+VebtbQK7Yk1B7SUtZLQ+ObeTxo/Emriqzqkynao44LU85cRhxizbPG58iEBVZSCCSQOEDTpIF9BY7ZfUntJRtiTUHtJWXyVAZGsaraJZGVTPLLFaJ5IhCjMI7OSGwynGwTEwJZYHv03VsqBXbEmoPaSl5LQ+fTeT5j/iTljqypWXj4/4P746A2y+pPaSjbEmpPaSsTlnKKma0Zi0sgWSOKVJJ5rjJn487IVxXwQKt8ZZbgc4dFygnVbFJmawws5ctg0s5LFriQGDHS6kAFWOkrcTpJoHNsSag9pKXyjaHzL7yeDnJVlSuU+Jf2UBth9Se0lG2H1J7SVQ7IrSu3YIY7QYJyMeJpXWPNnGqpmS2GV3fRdcSApN4IW/mwSWRklxPnIwyKkmee1q8gRc80czgYlLXcGgHFwG8AL/AGxJqD2ko2xJqD2kpqigrMn2h8B3k8bJ+JNY9M7ZfUntJS+NBZpDK5RMcuNwzR4Vzj3tjUgr7QRdWIsVukvjBnlJEsYsuGWZ0nvtjraMBJ3+MQZsXvfcl5Fw00G/2xJqD2ko2xJqD2kpqigRssjGeTEmDeo9F4N+mXkrte4/vD9FH8UtFAR/eH6KP4paapB7SFtD3hzfFH5qSP8Ail9Kg1LuivNl7qfw0DVFK7orzZe6n8NG6K82Xup/DQFt4Y+lHuamqrLZlBb4/Jl40Hip+Rv00zuivNl7qfw0DVFK7orzZe6n8NG6K82Xup/DQMPwH2VDk/iY+jX3CvD5RW4+TLwaqfw1DYMoLmY/Jl4tf9KfkH6aCxopXdFebL3U/ho3RXmy91P4aBqlLH583Sj/ABxV3dFebL3U/hpWyZQXHL5MvGj/AEp9XF+mgtKKV3RXmy91P4aN0V5svdT+GgapWXj4/wCD++OjdFebL3U/hpaTKC59Dhl8x/8ASn5Y/wBNBZ0UruivNl7qfw0borzZe6n8NA1SuU+Jf2UborzZe6n8NLZRygphcYZeDVT+Ggs6KV3RXmy91P4aN0V5svdT+GgaopXdFebL3U/ho3RXmy91P4aAyf5h6WX/ACPTVVtitoVSCso3yQ8VNwM7EHzeQimN0V5svdT+GgaopXdFebL3U/ho3RXmy91P4aAj+8P0UfxS0VHZZw08hAYb3H5yunpl5wF9doPace/RR++Ws2mVLQglRpsTRZQs0V80ceNrPO8KMRmiFAYu5U3EgC4i/SNIovncHSM0guPp0y0uuxuyiPNCyWfN487m82mHOAXB7rvOAAAPoAHJQWIrtFFArbeGPpR7mpqlbbwx9KPc1NUBRRRQeX4D7KhyfxMfRr7hUz8B9lQ5P4mPo19woGKKKKApSx+fN0o/xxU3Slj8+bpR/jioG6KKKApWXj4/4P746apWXj4/4P746BqiiigKVynxL+ymqVynxL+ygaoqqyjbLQryCOHEqwl0IXEWkANy3Y1v03DDovvvxClLLb7aSMdniUZ3Cbr783jhGIeVzHmOnV8A4CGgorPPly2AkDJZIBcBs/HpCC8NddwPwL+fDcNNRTZatocFbBemZDmMkFhKTpjx4gDcLuBeXhoNNRWbbLNtJI2jm1uUh8SzkG/SMAZMRuI9IAuJvPBXVy5bMRG5puvOEmVV0KwAv0HhGn/jTw0GjorO2fLdsJIbJ5QXMQ2NTdcGwrd+I4govvA0k8FxMliyra2mVZLEEjbCMQkDFD5RZjo0i7ALtGkNpN4oLSP7w/RR/FLRRH94foo/ilooIzaUW0PjdVvijuxELf5UvLU26MWuj7a/OpytcwDkFBDujFro+2vzo3Ri10fbX51NgHIKMA5BQIWy3x3x77HxoPnryN+dM7oxa6Ptr86nwDkFcwDkFBDujFro+2vzo3Ri10fbX51NgHIKMA5BQLvlCK477Hwc9fnUNgyhHmY99j4tfxLyD86ewDkFGAcgoId0YtdH21+dG6MWuj7a/OpsA5BRgHIKCHdGLXR9tfnStkt8eOXfY+NH4l1cX51YYByCu4ByCgg3Ri10fbX50boxa6Ptr86mwDkFGAcgoId0YtdH21+dLSW+PPoc7H5j/jXlT86fwDkFdwDkFBBujFro+2vzo3Ri10fbX51NgHIKMA5BQQ7oxa6Ptr86Wyjb4zC4EsfBz1+dP4ByCu4ByCgg3Ri1sfbX50boxa6Ptr86mwDkFGAcgoId0YtdH21+dG6MWtj7a/OpsA5BRgHIKCHdGLXR9tfnRujFrY+2vzqbAOQUYByCgh3Ri1sfbX50boxa6Ptr86mwDkFGAcgoFLNOrTuVZW3uPzSGu0y8lFOAUUH/2Q=="/>
          <p:cNvSpPr>
            <a:spLocks noChangeAspect="1" noChangeArrowheads="1"/>
          </p:cNvSpPr>
          <p:nvPr/>
        </p:nvSpPr>
        <p:spPr bwMode="auto">
          <a:xfrm>
            <a:off x="79375" y="-727075"/>
            <a:ext cx="1828800" cy="1504950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TextBox 11"/>
          <p:cNvSpPr txBox="1"/>
          <p:nvPr/>
        </p:nvSpPr>
        <p:spPr>
          <a:xfrm>
            <a:off x="914400" y="3181600"/>
            <a:ext cx="1981200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200" dirty="0" smtClean="0"/>
              <a:t>Recall what Capital Markets Finance does… </a:t>
            </a:r>
            <a:endParaRPr lang="en-US" sz="2200" dirty="0"/>
          </a:p>
        </p:txBody>
      </p:sp>
      <p:sp>
        <p:nvSpPr>
          <p:cNvPr id="14" name="Oval 13"/>
          <p:cNvSpPr/>
          <p:nvPr/>
        </p:nvSpPr>
        <p:spPr bwMode="auto">
          <a:xfrm>
            <a:off x="8915400" y="152400"/>
            <a:ext cx="990600" cy="990600"/>
          </a:xfrm>
          <a:prstGeom prst="ellips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8867900" y="297875"/>
            <a:ext cx="106680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Capital Markets Finance</a:t>
            </a:r>
            <a:endParaRPr lang="en-US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86" b="11076"/>
          <a:stretch>
            <a:fillRect/>
          </a:stretch>
        </p:blipFill>
        <p:spPr bwMode="auto">
          <a:xfrm>
            <a:off x="2931808" y="1600200"/>
            <a:ext cx="6974192" cy="495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3" name="Left Brace 12"/>
          <p:cNvSpPr/>
          <p:nvPr/>
        </p:nvSpPr>
        <p:spPr bwMode="auto">
          <a:xfrm>
            <a:off x="2362200" y="1600200"/>
            <a:ext cx="838200" cy="4800600"/>
          </a:xfrm>
          <a:prstGeom prst="leftBrace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</p:spTree>
    <p:custDataLst>
      <p:tags r:id="rId1"/>
    </p:custDataLst>
  </p:cSld>
  <p:clrMapOvr>
    <a:masterClrMapping/>
  </p:clrMapOvr>
  <p:transition xmlns:p14="http://schemas.microsoft.com/office/powerpoint/2010/main">
    <p:cut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Rectangle 2"/>
          <p:cNvSpPr>
            <a:spLocks noGrp="1" noChangeArrowheads="1"/>
          </p:cNvSpPr>
          <p:nvPr>
            <p:ph type="title"/>
          </p:nvPr>
        </p:nvSpPr>
        <p:spPr>
          <a:xfrm>
            <a:off x="762000" y="838200"/>
            <a:ext cx="8153400" cy="304800"/>
          </a:xfrm>
        </p:spPr>
        <p:txBody>
          <a:bodyPr/>
          <a:lstStyle/>
          <a:p>
            <a:pPr lvl="1"/>
            <a:r>
              <a:rPr lang="en-US" sz="2300" dirty="0" smtClean="0"/>
              <a:t>Case Study C:  Part 1 – Background story</a:t>
            </a:r>
          </a:p>
        </p:txBody>
      </p:sp>
      <p:sp>
        <p:nvSpPr>
          <p:cNvPr id="93188" name="AutoShape 4" descr="data:image/jpg;base64,/9j/4AAQSkZJRgABAQAAAQABAAD/2wCEAAkGBhQSDhQQEA8QEBQUEBkQFA4QFhEQFBAQFBwWFRUQFRQYHycqFxkjGRUTHy8iIycsLCwsFR4xQTIqNSYrLSkBCQoKBQUFDQUFDSkYEhgpKSkpKSkpKSkpKSkpKSkpKSkpKSkpKSkpKSkpKSkpKSkpKSkpKSkpKSkpKSkpKSkpKf/AABEIAMwA9wMBIgACEQEDEQH/xAAbAAACAwEBAQAAAAAAAAAAAAAABAMFBgECB//EAEkQAAIBAQMEDQkIAQMDBQEAAAECAwAEERIFEyFTBhQVIzEzUVJzkZKT0iIyQVRxsbLR0wc0QmFiY3Kis0OBoSR0dRY1NsHCCP/EABQBAQAAAAAAAAAAAAAAAAAAAAD/xAAUEQEAAAAAAAAAAAAAAAAAAAAA/9oADAMBAAIRAxEAPwD7PLaXzhRERrkViWcp5xYXABTzf+a5nJtXF3j/AE67H94foo/ilpqgUzk2ri7x/p0ZybVxd4/06booFM5Nq4u8f6dGcm1cXeP9Om6KBTOTauLvH+nRnJtXF3j/AE6booFM5Nq4u8f6dGcm1cXeP9Om6KBTOTauLvH+nRnJtXF3j/TrL5O+0FpctS5KNjwtCpkefPBlzVyFXC4LyTnI9HovOnRV3YNl1kmWV4bVFKsK4pShLZpdOluTzT1Ggdzk2ri7x/p0ZybVxd4/06rZNnNhWBLQ1tgELsUSYtcjuvnKG4CR/wDR5KnynssslnEZtFqihEq4o84cOcGjzb+HhGj86BvOTauLvH+nRnJtXF3j/TqOfL0CWiOzPMizSrijhN+J106VHpHknqqHZRsijsNjltc2IpGAcK6WdmIVUH5liBQNZybVxd4/06M5Nq4u8f6dYXYr9sAtNshslpsEtia0xCazu7iRZkYMVbzVuDBWuOm8i6qu1f8A9ARLLI0eT55bLHMIXtiuo8psWErGRpvCORew0D0UH07OTauLvH+nRnJtXF3j/TrH7LPtjsNiiVlfbUsiJIlniNzZuRQ6u7Eb2CjAgHSbxo9Ij2WfbNZLEqLcbROwUtZYmF8IYBt8e64EXjRw/kKDaZybVxd4/wBOjOTauLvH+nTQNdoFM5Nq4u8f6dGcm1cXeP8ATpuigUzk2ri7x/p0ZybVxd4/06booFM5Nq4u8f6dGcm1cXeP9Om6KBTOTauLvH+nRnJtXF3j/TpuigWs1oYuyOiqQqterFwQxYelRd5v/NFcj+8P0UfxS0UBH94foo/ilpqlY/vD9FH8UtNUBRRRQFFFFAUUUUBRRRQfJtjv/wA5yh/2Q+Gx1P8AZMdGWf8AyU3/AOqNhViefZPlDKcattUxbWSZlZBLKogVgmIDEAYXvI/Llq+H2evFPa3sVuazJbWMk0LRJNhka/FJC5YYCcR4Qw6hQfNNkf8A8Lyb/wB2nvtNfTPtY2ObcyTMqm6WAbbhN9xDxXkge1cS+0jkrxsk+zGO05Ns+TYp2s8NnZXBwCV3KBlUkkgaS7k6NJPopj/0VO00882UM7JLYmsKnMIiQxu2JmCB/KY/meTkuoEfs0tj5QUZXnW5mgWxwryLHcbTLcDozk4YfxiWtXsgyLBarM0FrQPCbnZWZox5BxAllIIAIv4fRSOwfYtudYlsYmz6ozFHKCMgOS5U3E3+UW06OGvOz/ItoteTZrLZJEiklATHIWVc2SM4pKgnSt44PTQfKNg9lGU9kBtkCFLFk6IQ2cHEd7jVo7OgLabz5chvvI4Dw18/yd/7Ba//ACFl+C019m+znYRlbJ7xwSTZP2mHd5o4gxlkLKbjiMYvN+AcPAt1Ze0fYdlBBNYoJrIbJLaUnz0hkEqiISKgKheG6Q3gX3kDSNNAl9p2S4l2O5JtCwxrK8MKvMqqHdRZxcGYC9rsK3X8F1TfbrkyJLPk2ZIY0kkRs5KiqrS3JBdjYDyrrzw8tbn7QvsymteS7HYbJJENq4VxTlkxIkebB8lW0nQaj+077NrTlGz2KKzvZ1azKwcys6gkrGow4UN+lDw3eig+lrwV2uCu0BRRRQFFFFAUUUUBRRRQKx/eH6KP4paKI/vD9FH8UtFBE8xW0PdG771HpUxi7ypecwqXbjery9cHjoRv+ofoo/ilpLZRY89Y5IlMt7YQDCY8YuZTiukIV1F17KfOUMum+6gd22/q8vXB46NuN6vL1weOvncOxm1XPnLLGpkzUxWJohEjR2aeJogpbyTnGW4C8DH51wJGm2FZJls2ejm0qrJFBKSpaSzIt8eO4+egbNknhzd/poL7bjery9cHjo243q8vXB46ZxjlFUmzHJW2rC9mUm+Ro1xIQGjGcQmUEkaVALcuigstuN6vL1weOjbjery9cHjr53FsZtmcd7TDtgSSvJLEjxYZJpbJCiugZh5CTCdBfcRjVrvSHtj2xy1w2yB5TnUJU2h2dTdaYbKIBaUBN5Ehd1bRffGhu0mg223G9Xl64PHRtxvV5euDx0xjHKK7jHKKBbbbery9cHjo22/q8vXB46zuXtjQmyhFKIUZTZ5xLKSuic7W2uTeb9Gae64XDTzjfl//AEraTHZcVlJzUMEMqE2aQsYbLaonNzOAymWWIAk+jFoABoPpW3G9Xl64PHRtxvV5euDx1NEwwjgGgaL77vyvr3jHKKBbbjery9cHjo22/q8vXB46yez3Y5NaZFay6C9knsssiuEZL83PAwvIv32HBo9ExqqtOxm0GYytZsRlsV7qu12CWyV7TK6B2cFcBmj8pb8QQLwUH0Hbjery9cHjo243q8vXB46zmwTJMsAkzq5lGis6LAWVrpo4gs81ykhcTYRoOnNk+nTrMY5RQLbcb1eXrg8dG239Xl64PHXu1QJIhjkCurC5kPAw5DyivmE2wu07TjWODNynJ1viluaC9rRNm1gQnHdeVQjEOD0kUH0zbjery9cHjo243q8vXB46yWxzIU0dsxPFgRbRaZw+KMqUnWEIoAN+IYXBF1wwfmL9tjHKKBbbjery9cHjo22/q8vXB46YxjlFfPdkWxSeaXKEixK2cezmAERFnwizrI6uXGFQElBQ3Yr7+Sg3W3G9Xl64PHRtxvV5euDx1kth+RZ4bYzzxYFFmkhxhozGzm1TyjNqGJSMxyIVU+aLlvJWtrjHKKBfbjery9cHjo243q8vXB46ZxjlFZjZ3k2SeFBAhkdHMixnNtDI2BkzVoVmXyGDsMS6UNzeigvttt6vL1weOjbjery9cHjr59lLY5aZXtDtZseeezWlAXibMyJaFE0VzPdi2qkIJGgiMjhYg/RbNCkaLGgCqihFUcCqouAH+1AvZZS08l6Mm9x6GwG/TLzWNFSRH/qH6KP4paKCM2ZGtD40Rroo/OUNd5UvLU250Wpj7C/KvMf3h+ij+KWmqBfc6LUx9hflRudFqY+wvypiigrrZk+O+Peo+NH4F5G/KmdzotTH2F+Vebbwx9KPc1NUC+50Wpj7C/Kjc6LUx9hflTFFAq+TorjvMXBzF+VQ2DJ8eZj3qPi1/AvIPyp5+A+yocn8TH0a+4UBudFqY+wvyo3Oi1MfYX5UxRQL7nRamPsL8qVsmT48cu9R8aPwLq4vyqypSx+fN0o/xxUHvc6LUx9hflRudFqY+wvypiigX3Oi1MfYX5UtJk+PPoM1H5j/AIF5Y/yqxpWXj4/4P746D1udFqY+wvyo3Oi1MfYX5UxRQL7nRamPsL8qWyjk+MQvvUfBzF+VWNK5T4l/ZQLSmBbQlnMK45EaRd6GHCmENe911/lDRw03udFqY+wvypa15NdrXDOsiKsSupjKMzPnMN5DhgFuwj8J9NWNAvudFqY+wvyrm50Wpj7C/KmaKCpgssawu+11kIkluREjLNdI9yi+4dZAr3kzMzxCRYFXynQo6IGSSNmjdDdeLwysLwSDdoJFdzLvZpEhlEMjPKFlK5zAxkfysN4vu9tS5GsBhgWIlDhvF8augN5JvON3JY33lixJJJ9NBLudFqY+wvyo3Oi1MfYX5UxRQJWaBVncIqrvUfmgLfpl5KK9x/eH6KP4paKAj+8P0UfxS01Ve9mDWhyS4uiTzXkT8UvoUi+oMmzQzhs29ovRgrJI1rhdSQGF6SEG4ggg3XUFvRSu5y86XvZ/FRucvOl72fxUBbeGPpR7mpqqy2ZPW+PypeNA42fkb9Vcvhz+1s7Jnc0Zs3nbReIwQuI+Vo0kDTw6eQ0FpRSu5y86XvZ/FRucvOl72fxUDD8B9lQ5P4mPo19wrw+TluPlS8Gtn8VVrSwwwQmRrR5YVFWM2yZmbAXICR4j5qseD0UF7RSi5PUi/FN/vLOP+MVd3OXnS97P4qBqlLH583Sj/HFXdzl50vez+KkM1HGJ5JJJFRJLyxln0DNxcjaT/wA0FzRSFmsySIHU2gAi8B3tUTf7o5BH+4qXc5edL3s/ioGqVl4+P+D++Ojc5edL3s/ipaTJ655Bil8x/wDVn5Y/1UFnRVPHaIWtG18VqElzMA+3UVlQqGZZGuVgC68BPnCntzl50vez+KgapXKfEv7KNzl50vez+Klso5PUQucUvBrZ/FQWdFU9qtMEcqxPLMHbDoD2pgucYpHjcG5MTgquIi8i4U9ucvOl72fxUDVcpbc5edL3s/io3OXnS97P4qAyd5h6WX/I9NVTJHFFA8skkqqskhLZ2c6BI40ANeSdAuGkk1PYFimjzkbzFbyumS0oyspKsrKzAqQQRcRQWVFK7nLzpe9n8VG5y86XvZ/FQEf3h+ij+KWio7LAFnkALHe4/OZ39MvOJurtB6Xj5LuHNJdfy3y0lkDJskbTySiNDNKJc1E7zKpwqrNnHVSSSOC64AC7009H94foo/ilpqgKKKKBW28MfSj3NVbZ9jWC37aWWQqyTY43IN8kpgII8m/CFhu0nRhQDQKsrbwx9KPc1NUBRRRQeX4D7KoMsZJe0WKJI0jZwgKSSSSwmBzGUEyNGpJYYjovF950ir9+A+yocn8TH0a+4UEsSkKATiIABY6MRHpr3RRQFUeVcmG0Q2iJSt+fjkAYsqsYhZ5QjFdIDYMJI0gG/TV5Slj8+bpR/jioIcgWB4bOI5CCcbsFVmdY0d2dIVZgCyopCgkDzeADQLGiigKVl4+P+D++OmqVl4+P+D++OghsuTmFpltEhUllWKIC/e4VGI33/iaRmJu9Cx8lWFFFAUrlPiX9lNUrlPiX9lBTZY2OSS22O0KUAXM3MWdWjzUrSSDNgXTB1KqMZGAriGmtHRRQFFFFBVS2ITWWWIqHxPLcpZovLEjlTnFBKEMAcQBIuvr1seyU0EJV2xO8rzOcTP5TknDiYAtcMIvuF919w4Azk7zD0sv+R6aoCiiigVj+8P0UfxS0UR/eH6KP4paKCJoS1oe6R03qPQojN/lS85TUu1G18vVD4KE49+ij+KWsFbYGay3CK1OBugIQ8dqZ1tkkoexS+WMQOAvhkOhb+EGg3u1G18vVD4KNqNr5eqHwUyvBprtBWWyytfHv8vGj0Q8jfopnaja+Xqh8FFt4Y+lHuaqdyBb7ViFpwtYogWUWrDiUzYhEyi4NhePRGcRJ5RQXG1G18vVD4KNqNr5eqHwUpsVJ3PswYOrCzRqyyK6OHVQrBlYAg3g8NWtAo9ka47/LwckPgqGwWVszHv8ALxa+iHkH6KffgPsrPZe+4QECYkTWV7oRM5uWSJnLLECSuAOSCLtHsoLnaja+Xqh8FG1G18vVD4KpMlopynM6QyQ4Y2jYmKZBanLIzTNIVwsFuCppJ8qT8N1+loFdqNr5eqHwUrZLK2Obf5eNHoh1cX6KtKrZLsFpxY7sRvzecx3ZqPzc35V/8dNAxtRtfL1Q+Cjaja+Xqh8FZGzw4hkwiGXPpHCJC0FoSQRqjKwM7ACNVbGWQ6X8kaL1v3FArtRtfL1Q+ClpLK2fTf5fMf0Q8sf6Ks6Vl4+P+D++OgNqNr5eqHwUbUbXy9UPgrP2mKZrZa0s+cUvHZ/LlNpjjuUy55YZSrBWwsnmaAWvuvvqz2IxOuTrMsqlHWzorIS5KkKBccQBvuuvvHDfw8NA7tRtfL1Q+Clso2Vsy+/y8HJD4Ks6VynxL+ygNqNr5eqHwUbUbXy9UPgqpyyP+vg4+42edGZFndFxBMN4UFQ2hrr9Po9NR7BYM3Z3jCAIkgRJhDJZWtCiOO+V45NOLFiUn04KC62o2vl6ofBRtRtfL1Q+CmqKCssFlbAd/l42T0Q6x/0UztRtfL1Q+CoobsxJixXY5r8GPFdjkvw4PKvu4MOnk01jbAJg1gYxO+CyWSNY54J2Ky42jtjlzdmZEQI2JxewW4X3m8NvtRtfL1Q+Cjaja+Xqh8FNUUCNliKzyXuz73HpbALtMvNArte4/vD9FH8UtFAR/eH6KP4paapBse2HwYOKjvxYudLyVLv37X96Bqild+/a/vRv37X96AtvDH0o9zU1VbbM7fHxXGjn8jUxv37X96Bqild+/a/vRv37X96Bh+A+yocn8TH0a+4V4fO3HiuD9dQ2DO5mPiuLXn8goLGild+/a/vRv37X96BqlLH583Sj/HFXd+/a/vS1kzuObiuNHP1cVBZ0Urvv7X96N+/a/vQNUrLx8f8AB/fHRv37X96XlzufTivMfn8sdBZUUrv37X96N+/a/vQNUrlPiX9lG/ftf3pfKOdzL8VwfroLKild+/a/vRv37X96Bqild+/a/vRv37X96Ayf5h6WX/I9NVWZPzuA8VxsnP1j0zvv7X96Bqild+/a/vRv37X96Aj+8P0UfxS0VHZcWfkx4eKjuw38svLXaD2nHv0UfxS1lpbbJJY2C2yQzm3TWWF4jEuJzI6pjUKb1jjUuRw4YzWpj+8P0UfxS1LFZEXzY0XTi8lVGm66/R6btFB7QXAC8m4XXm68/mbq9UUUCtt4Y+lHuas3l/K8iS2tEtAF0FkMaEoubaaaSJ/KuJQMAgLkHBeGuN1x0lt4Y+lHuapGsaEsTGhLLhYlVJZToKk+kXAaPyoK3Ypa2ksitIzMwkljJYqxGblkQJjGh8IULi/Fhv8ATVxXmOMKoVQFAFwVQAABwAAcAr1QeX4D7KosrWxorHZ3WbNb/ZUYnB5cbyRI8flcF6s3Bp0VevwH2UrZbOrwRh0Vxm1NzAML8N19x9poKLI1un3RkhlZ2GCaRhigeNFEqLZcAQ4o74i4IcC9ozdfcTWpqOOBVLFVVSxxMVABZuC83cJqSgKqLbaESK0vLM0CBwWlQgMowQ6F0HSeAAC8k6NN1W9JWeIM0ysoYGUXqwBB3uLhBoMfZMrziWIPaWLA2YLBihfOx2iedJBIUG+OkKLeVNwaFjwE372oEsUYKlY4wUvCkKowBvOC6NF/puqegKVl4+P+D++OmqVl4+P+D++OgzNuykwktpgtrYYrNIWLtC4jtS3FViUjQEW9WvvF7qNLK12oyfNjhje8NijVsQuN5IGnRQbBHexzUd7C5jhW9hw3E3adIHVU0cYUBVAUDQFAAAHIAKD1SuU+Jf2U1SuU+Jf2UFRlu2XW2COO0sj3h5IS0YjFm8oM7qwvLMblW433reNCvXvYjazJHK4naeIzbw8jI7mLAl7EqB5LOJGW/ThYcAIAuJLIjMGaNGYcDMqkj06CeCuwWVEvCIiXm8hFC3nlN1BLRRRQVjzKllleSUwopmLTAgGNQ8l7gkG672Vm0yhIIrLIbW+I2tUzbSQs+1pZykayRBd8coVQ6QU0t5RU4tZYkBjYMAQZZQQdIIzj6CK9pk+JSpWKMFb8JCqCuLhwm7Rf+VAxRRRQKx/eH6KP4paKI/vD9FH8UtFBE0rC0PhjL71HpvUXeVLy1Ltl9Se0leWYCWQsbgIUJOkXC+a81hJbfM1ikksUkkkJnzoAtDPPCiiERxMzksodhJIy33gMF0XtcG92xJqD2ko2xJqD2kpkV2grbZaHvj3k8aPxJyNTG2X1J7SUW3hj6Ue5qymW7Sj2u0Rx202ZkszJK0k8qrnHERQpFjGBUQEl0w8Zwk47g1e2H1J7SUbYk1B7SUnsVtOOyI1x8+RQxklnEgV3USrJISzIwAYXngYXXi41bUCj2h7jvJ4OclQ2C0PmY95PFr+JOQU+/AfZWW2U2pFsESGVoZJFCQyiWSzrHKU46RlIBVBe2Fr7yAACSKDQ7Yk1J7SUbYk1B7SVnNjmUXa3zLI2cLGYkB5f+njilVYFaInCokiZXVgAThY+VebtbQK7Yk1B7SUtZLQ+ObeTxo/Emriqzqkynao44LU85cRhxizbPG58iEBVZSCCSQOEDTpIF9BY7ZfUntJRtiTUHtJWXyVAZGsaraJZGVTPLLFaJ5IhCjMI7OSGwynGwTEwJZYHv03VsqBXbEmoPaSl5LQ+fTeT5j/iTljqypWXj4/4P746A2y+pPaSjbEmpPaSsTlnKKma0Zi0sgWSOKVJJ5rjJn487IVxXwQKt8ZZbgc4dFygnVbFJmawws5ctg0s5LFriQGDHS6kAFWOkrcTpJoHNsSag9pKXyjaHzL7yeDnJVlSuU+Jf2UBth9Se0lG2H1J7SVQ7IrSu3YIY7QYJyMeJpXWPNnGqpmS2GV3fRdcSApN4IW/mwSWRklxPnIwyKkmee1q8gRc80czgYlLXcGgHFwG8AL/AGxJqD2ko2xJqD2kpqigrMn2h8B3k8bJ+JNY9M7ZfUntJS+NBZpDK5RMcuNwzR4Vzj3tjUgr7QRdWIsVukvjBnlJEsYsuGWZ0nvtjraMBJ3+MQZsXvfcl5Fw00G/2xJqD2ko2xJqD2kpqigRssjGeTEmDeo9F4N+mXkrte4/vD9FH8UtFAR/eH6KP4paapB7SFtD3hzfFH5qSP8Ail9Kg1LuivNl7qfw0DVFK7orzZe6n8NG6K82Xup/DQFt4Y+lHuamqrLZlBb4/Jl40Hip+Rv00zuivNl7qfw0DVFK7orzZe6n8NG6K82Xup/DQMPwH2VDk/iY+jX3CvD5RW4+TLwaqfw1DYMoLmY/Jl4tf9KfkH6aCxopXdFebL3U/ho3RXmy91P4aBqlLH583Sj/ABxV3dFebL3U/hpWyZQXHL5MvGj/AEp9XF+mgtKKV3RXmy91P4aN0V5svdT+GgapWXj4/wCD++OjdFebL3U/hpaTKC59Dhl8x/8ASn5Y/wBNBZ0UruivNl7qfw0borzZe6n8NA1SuU+Jf2UborzZe6n8NLZRygphcYZeDVT+Ggs6KV3RXmy91P4aN0V5svdT+GgaopXdFebL3U/ho3RXmy91P4aAyf5h6WX/ACPTVVtitoVSCso3yQ8VNwM7EHzeQimN0V5svdT+GgaopXdFebL3U/ho3RXmy91P4aAj+8P0UfxS0VHZZw08hAYb3H5yunpl5wF9doPace/RR++Ws2mVLQglRpsTRZQs0V80ceNrPO8KMRmiFAYu5U3EgC4i/SNIovncHSM0guPp0y0uuxuyiPNCyWfN487m82mHOAXB7rvOAAAPoAHJQWIrtFFArbeGPpR7mpqlbbwx9KPc1NUBRRRQeX4D7KhyfxMfRr7hUz8B9lQ5P4mPo19woGKKKKApSx+fN0o/xxU3Slj8+bpR/jioG6KKKApWXj4/4P746apWXj4/4P746BqiiigKVynxL+ymqVynxL+ygaoqqyjbLQryCOHEqwl0IXEWkANy3Y1v03DDovvvxClLLb7aSMdniUZ3Cbr783jhGIeVzHmOnV8A4CGgorPPly2AkDJZIBcBs/HpCC8NddwPwL+fDcNNRTZatocFbBemZDmMkFhKTpjx4gDcLuBeXhoNNRWbbLNtJI2jm1uUh8SzkG/SMAZMRuI9IAuJvPBXVy5bMRG5puvOEmVV0KwAv0HhGn/jTw0GjorO2fLdsJIbJ5QXMQ2NTdcGwrd+I4govvA0k8FxMliyra2mVZLEEjbCMQkDFD5RZjo0i7ALtGkNpN4oLSP7w/RR/FLRRH94foo/ilooIzaUW0PjdVvijuxELf5UvLU26MWuj7a/OpytcwDkFBDujFro+2vzo3Ri10fbX51NgHIKMA5BQIWy3x3x77HxoPnryN+dM7oxa6Ptr86nwDkFcwDkFBDujFro+2vzo3Ri10fbX51NgHIKMA5BQLvlCK477Hwc9fnUNgyhHmY99j4tfxLyD86ewDkFGAcgoId0YtdH21+dG6MWuj7a/OpsA5BRgHIKCHdGLXR9tfnStkt8eOXfY+NH4l1cX51YYByCu4ByCgg3Ri10fbX50boxa6Ptr86mwDkFGAcgoId0YtdH21+dLSW+PPoc7H5j/jXlT86fwDkFdwDkFBBujFro+2vzo3Ri10fbX51NgHIKMA5BQQ7oxa6Ptr86Wyjb4zC4EsfBz1+dP4ByCu4ByCgg3Ri1sfbX50boxa6Ptr86mwDkFGAcgoId0YtdH21+dG6MWtj7a/OpsA5BRgHIKCHdGLXR9tfnRujFrY+2vzqbAOQUYByCgh3Ri1sfbX50boxa6Ptr86mwDkFGAcgoFLNOrTuVZW3uPzSGu0y8lFOAUUH/2Q=="/>
          <p:cNvSpPr>
            <a:spLocks noChangeAspect="1" noChangeArrowheads="1"/>
          </p:cNvSpPr>
          <p:nvPr/>
        </p:nvSpPr>
        <p:spPr bwMode="auto">
          <a:xfrm>
            <a:off x="79375" y="-727075"/>
            <a:ext cx="1828800" cy="1504950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" name="Rectangle 7"/>
          <p:cNvSpPr>
            <a:spLocks noChangeArrowheads="1"/>
          </p:cNvSpPr>
          <p:nvPr/>
        </p:nvSpPr>
        <p:spPr bwMode="gray">
          <a:xfrm>
            <a:off x="152400" y="1219200"/>
            <a:ext cx="9372600" cy="5943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9" tIns="36571" rIns="36571" bIns="36571"/>
          <a:lstStyle/>
          <a:p>
            <a:pPr marL="458788" lvl="1" indent="-457200" algn="just" defTabSz="1019175" eaLnBrk="0" hangingPunct="0">
              <a:buClr>
                <a:schemeClr val="folHlink"/>
              </a:buClr>
              <a:buSzPct val="125000"/>
              <a:buFont typeface="Wingdings" pitchFamily="2" charset="2"/>
              <a:buChar char="§"/>
            </a:pPr>
            <a:endParaRPr lang="en-US" sz="2400" b="1" dirty="0" smtClean="0">
              <a:solidFill>
                <a:schemeClr val="bg2"/>
              </a:solidFill>
            </a:endParaRPr>
          </a:p>
          <a:p>
            <a:pPr marL="1373188" lvl="3" indent="-457200" algn="just" defTabSz="1019175" eaLnBrk="0" hangingPunct="0">
              <a:buClr>
                <a:schemeClr val="folHlink"/>
              </a:buClr>
              <a:buSzPct val="125000"/>
              <a:buFont typeface="Wingdings" pitchFamily="2" charset="2"/>
              <a:buChar char="§"/>
            </a:pPr>
            <a:r>
              <a:rPr lang="en-US" sz="2300" b="1" dirty="0" smtClean="0">
                <a:solidFill>
                  <a:schemeClr val="accent1"/>
                </a:solidFill>
                <a:sym typeface="Wingdings" pitchFamily="2" charset="2"/>
              </a:rPr>
              <a:t>When a campus needs to expand its physical presence (classrooms, office buildings, hospitals, dorms, parking garages, etc.), it almost </a:t>
            </a:r>
            <a:r>
              <a:rPr lang="en-US" sz="2300" b="1" i="1" dirty="0" smtClean="0">
                <a:solidFill>
                  <a:schemeClr val="accent1"/>
                </a:solidFill>
                <a:sym typeface="Wingdings" pitchFamily="2" charset="2"/>
              </a:rPr>
              <a:t>always</a:t>
            </a:r>
            <a:r>
              <a:rPr lang="en-US" sz="2300" b="1" dirty="0" smtClean="0">
                <a:solidFill>
                  <a:schemeClr val="accent1"/>
                </a:solidFill>
                <a:sym typeface="Wingdings" pitchFamily="2" charset="2"/>
              </a:rPr>
              <a:t> needs financing from the bond market</a:t>
            </a:r>
          </a:p>
          <a:p>
            <a:pPr marL="1373188" lvl="3" indent="-457200" algn="just" defTabSz="1019175" eaLnBrk="0" hangingPunct="0">
              <a:buClr>
                <a:schemeClr val="folHlink"/>
              </a:buClr>
              <a:buSzPct val="125000"/>
              <a:buFont typeface="Wingdings" pitchFamily="2" charset="2"/>
              <a:buChar char="§"/>
            </a:pPr>
            <a:endParaRPr lang="en-US" sz="2300" b="1" dirty="0" smtClean="0">
              <a:solidFill>
                <a:schemeClr val="accent1"/>
              </a:solidFill>
              <a:sym typeface="Wingdings" pitchFamily="2" charset="2"/>
            </a:endParaRPr>
          </a:p>
          <a:p>
            <a:pPr marL="1373188" lvl="3" indent="-457200" algn="just" defTabSz="1019175" eaLnBrk="0" hangingPunct="0">
              <a:buClr>
                <a:schemeClr val="folHlink"/>
              </a:buClr>
              <a:buSzPct val="125000"/>
              <a:buFont typeface="Wingdings" pitchFamily="2" charset="2"/>
              <a:buChar char="§"/>
            </a:pPr>
            <a:r>
              <a:rPr lang="en-US" sz="2300" b="1" dirty="0" smtClean="0">
                <a:solidFill>
                  <a:schemeClr val="accent1"/>
                </a:solidFill>
                <a:sym typeface="Wingdings" pitchFamily="2" charset="2"/>
              </a:rPr>
              <a:t>The Regents have to approve not only the project itself, but also the authority to issue bonds</a:t>
            </a:r>
          </a:p>
          <a:p>
            <a:pPr marL="1373188" lvl="3" indent="-457200" algn="just" defTabSz="1019175" eaLnBrk="0" hangingPunct="0">
              <a:buClr>
                <a:schemeClr val="folHlink"/>
              </a:buClr>
              <a:buSzPct val="125000"/>
              <a:buFont typeface="Wingdings" pitchFamily="2" charset="2"/>
              <a:buChar char="§"/>
            </a:pPr>
            <a:endParaRPr lang="en-US" sz="2300" b="1" dirty="0" smtClean="0">
              <a:solidFill>
                <a:schemeClr val="accent1"/>
              </a:solidFill>
              <a:sym typeface="Wingdings" pitchFamily="2" charset="2"/>
            </a:endParaRPr>
          </a:p>
          <a:p>
            <a:pPr marL="1373188" lvl="3" indent="-457200" algn="just" defTabSz="1019175" eaLnBrk="0" hangingPunct="0">
              <a:buClr>
                <a:schemeClr val="folHlink"/>
              </a:buClr>
              <a:buSzPct val="125000"/>
              <a:buFont typeface="Wingdings" pitchFamily="2" charset="2"/>
              <a:buChar char="§"/>
            </a:pPr>
            <a:r>
              <a:rPr lang="en-US" sz="2300" b="1" dirty="0" smtClean="0">
                <a:solidFill>
                  <a:schemeClr val="accent1"/>
                </a:solidFill>
                <a:sym typeface="Wingdings" pitchFamily="2" charset="2"/>
              </a:rPr>
              <a:t>This means two offices are involved:  Budget &amp; Capital Resources and Capital Markets Finance</a:t>
            </a:r>
          </a:p>
          <a:p>
            <a:pPr marL="1373188" lvl="3" indent="-457200" algn="just" defTabSz="1019175" eaLnBrk="0" hangingPunct="0">
              <a:buClr>
                <a:schemeClr val="folHlink"/>
              </a:buClr>
              <a:buSzPct val="125000"/>
              <a:buFont typeface="Wingdings" pitchFamily="2" charset="2"/>
              <a:buChar char="§"/>
            </a:pPr>
            <a:endParaRPr lang="en-US" sz="2300" b="1" dirty="0" smtClean="0">
              <a:solidFill>
                <a:schemeClr val="accent1"/>
              </a:solidFill>
              <a:sym typeface="Wingdings" pitchFamily="2" charset="2"/>
            </a:endParaRPr>
          </a:p>
          <a:p>
            <a:pPr marL="1373188" lvl="3" indent="-457200" algn="just" defTabSz="1019175" eaLnBrk="0" hangingPunct="0">
              <a:buClr>
                <a:schemeClr val="folHlink"/>
              </a:buClr>
              <a:buSzPct val="125000"/>
              <a:buFont typeface="Wingdings" pitchFamily="2" charset="2"/>
              <a:buChar char="§"/>
            </a:pPr>
            <a:r>
              <a:rPr lang="en-US" sz="2300" b="1" dirty="0" smtClean="0">
                <a:solidFill>
                  <a:schemeClr val="accent1"/>
                </a:solidFill>
                <a:sym typeface="Wingdings" pitchFamily="2" charset="2"/>
              </a:rPr>
              <a:t>Analyzing the campus’s ability to repay bonds is a tricky matter – it takes time and due diligence.  But the Capital Markets Finance office sometimes doesn’t find out until the week that Regents’ items are due</a:t>
            </a:r>
          </a:p>
        </p:txBody>
      </p:sp>
      <p:sp>
        <p:nvSpPr>
          <p:cNvPr id="7" name="Oval 6"/>
          <p:cNvSpPr/>
          <p:nvPr/>
        </p:nvSpPr>
        <p:spPr bwMode="auto">
          <a:xfrm>
            <a:off x="8915400" y="152400"/>
            <a:ext cx="990600" cy="990600"/>
          </a:xfrm>
          <a:prstGeom prst="ellips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8867900" y="297875"/>
            <a:ext cx="106680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Capital Markets Finance</a:t>
            </a:r>
            <a:endParaRPr lang="en-US" dirty="0"/>
          </a:p>
        </p:txBody>
      </p:sp>
    </p:spTree>
    <p:custDataLst>
      <p:tags r:id="rId1"/>
    </p:custDataLst>
  </p:cSld>
  <p:clrMapOvr>
    <a:masterClrMapping/>
  </p:clrMapOvr>
  <p:transition xmlns:p14="http://schemas.microsoft.com/office/powerpoint/2010/main">
    <p:cut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Rectangle 2"/>
          <p:cNvSpPr>
            <a:spLocks noGrp="1" noChangeArrowheads="1"/>
          </p:cNvSpPr>
          <p:nvPr>
            <p:ph type="title"/>
          </p:nvPr>
        </p:nvSpPr>
        <p:spPr>
          <a:xfrm>
            <a:off x="762000" y="838200"/>
            <a:ext cx="8153400" cy="304800"/>
          </a:xfrm>
        </p:spPr>
        <p:txBody>
          <a:bodyPr/>
          <a:lstStyle/>
          <a:p>
            <a:pPr lvl="1"/>
            <a:r>
              <a:rPr lang="en-US" sz="2300" dirty="0" smtClean="0"/>
              <a:t>Case Study C:  Part 2 – Two perspectives</a:t>
            </a:r>
          </a:p>
        </p:txBody>
      </p:sp>
      <p:sp>
        <p:nvSpPr>
          <p:cNvPr id="93188" name="AutoShape 4" descr="data:image/jpg;base64,/9j/4AAQSkZJRgABAQAAAQABAAD/2wCEAAkGBhQSDhQQEA8QEBQUEBkQFA4QFhEQFBAQFBwWFRUQFRQYHycqFxkjGRUTHy8iIycsLCwsFR4xQTIqNSYrLSkBCQoKBQUFDQUFDSkYEhgpKSkpKSkpKSkpKSkpKSkpKSkpKSkpKSkpKSkpKSkpKSkpKSkpKSkpKSkpKSkpKSkpKf/AABEIAMwA9wMBIgACEQEDEQH/xAAbAAACAwEBAQAAAAAAAAAAAAAABAMFBgECB//EAEkQAAIBAQMEDQkIAQMDBQEAAAECAwAEERIFEyFTBhQVIzEzUVJzkZKT0iIyQVRxsbLR0wc0QmFiY3Kis0OBoSR0dRY1NsHCCP/EABQBAQAAAAAAAAAAAAAAAAAAAAD/xAAUEQEAAAAAAAAAAAAAAAAAAAAA/9oADAMBAAIRAxEAPwD7PLaXzhRERrkViWcp5xYXABTzf+a5nJtXF3j/AE67H94foo/ilpqgUzk2ri7x/p0ZybVxd4/06booFM5Nq4u8f6dGcm1cXeP9Om6KBTOTauLvH+nRnJtXF3j/AE6booFM5Nq4u8f6dGcm1cXeP9Om6KBTOTauLvH+nRnJtXF3j/TrL5O+0FpctS5KNjwtCpkefPBlzVyFXC4LyTnI9HovOnRV3YNl1kmWV4bVFKsK4pShLZpdOluTzT1Ggdzk2ri7x/p0ZybVxd4/06rZNnNhWBLQ1tgELsUSYtcjuvnKG4CR/wDR5KnynssslnEZtFqihEq4o84cOcGjzb+HhGj86BvOTauLvH+nRnJtXF3j/TqOfL0CWiOzPMizSrijhN+J106VHpHknqqHZRsijsNjltc2IpGAcK6WdmIVUH5liBQNZybVxd4/06M5Nq4u8f6dYXYr9sAtNshslpsEtia0xCazu7iRZkYMVbzVuDBWuOm8i6qu1f8A9ARLLI0eT55bLHMIXtiuo8psWErGRpvCORew0D0UH07OTauLvH+nRnJtXF3j/TrH7LPtjsNiiVlfbUsiJIlniNzZuRQ6u7Eb2CjAgHSbxo9Ij2WfbNZLEqLcbROwUtZYmF8IYBt8e64EXjRw/kKDaZybVxd4/wBOjOTauLvH+nTQNdoFM5Nq4u8f6dGcm1cXeP8ATpuigUzk2ri7x/p0ZybVxd4/06booFM5Nq4u8f6dGcm1cXeP9Om6KBTOTauLvH+nRnJtXF3j/TpuigWs1oYuyOiqQqterFwQxYelRd5v/NFcj+8P0UfxS0UBH94foo/ilpqlY/vD9FH8UtNUBRRRQFFFFAUUUUBRRRQfJtjv/wA5yh/2Q+Gx1P8AZMdGWf8AyU3/AOqNhViefZPlDKcattUxbWSZlZBLKogVgmIDEAYXvI/Llq+H2evFPa3sVuazJbWMk0LRJNhka/FJC5YYCcR4Qw6hQfNNkf8A8Lyb/wB2nvtNfTPtY2ObcyTMqm6WAbbhN9xDxXkge1cS+0jkrxsk+zGO05Ns+TYp2s8NnZXBwCV3KBlUkkgaS7k6NJPopj/0VO00882UM7JLYmsKnMIiQxu2JmCB/KY/meTkuoEfs0tj5QUZXnW5mgWxwryLHcbTLcDozk4YfxiWtXsgyLBarM0FrQPCbnZWZox5BxAllIIAIv4fRSOwfYtudYlsYmz6ozFHKCMgOS5U3E3+UW06OGvOz/ItoteTZrLZJEiklATHIWVc2SM4pKgnSt44PTQfKNg9lGU9kBtkCFLFk6IQ2cHEd7jVo7OgLabz5chvvI4Dw18/yd/7Ba//ACFl+C019m+znYRlbJ7xwSTZP2mHd5o4gxlkLKbjiMYvN+AcPAt1Ze0fYdlBBNYoJrIbJLaUnz0hkEqiISKgKheG6Q3gX3kDSNNAl9p2S4l2O5JtCwxrK8MKvMqqHdRZxcGYC9rsK3X8F1TfbrkyJLPk2ZIY0kkRs5KiqrS3JBdjYDyrrzw8tbn7QvsymteS7HYbJJENq4VxTlkxIkebB8lW0nQaj+077NrTlGz2KKzvZ1azKwcys6gkrGow4UN+lDw3eig+lrwV2uCu0BRRRQFFFFAUUUUBRRRQKx/eH6KP4paKI/vD9FH8UtFBE8xW0PdG771HpUxi7ypecwqXbjery9cHjoRv+ofoo/ilpLZRY89Y5IlMt7YQDCY8YuZTiukIV1F17KfOUMum+6gd22/q8vXB46NuN6vL1weOvncOxm1XPnLLGpkzUxWJohEjR2aeJogpbyTnGW4C8DH51wJGm2FZJls2ejm0qrJFBKSpaSzIt8eO4+egbNknhzd/poL7bjery9cHjo243q8vXB46ZxjlFUmzHJW2rC9mUm+Ro1xIQGjGcQmUEkaVALcuigstuN6vL1weOjbjery9cHjr53FsZtmcd7TDtgSSvJLEjxYZJpbJCiugZh5CTCdBfcRjVrvSHtj2xy1w2yB5TnUJU2h2dTdaYbKIBaUBN5Ehd1bRffGhu0mg223G9Xl64PHRtxvV5euDx0xjHKK7jHKKBbbbery9cHjo22/q8vXB46zuXtjQmyhFKIUZTZ5xLKSuic7W2uTeb9Gae64XDTzjfl//AEraTHZcVlJzUMEMqE2aQsYbLaonNzOAymWWIAk+jFoABoPpW3G9Xl64PHRtxvV5euDx1NEwwjgGgaL77vyvr3jHKKBbbjery9cHjo22/q8vXB46yez3Y5NaZFay6C9knsssiuEZL83PAwvIv32HBo9ExqqtOxm0GYytZsRlsV7qu12CWyV7TK6B2cFcBmj8pb8QQLwUH0Hbjery9cHjo243q8vXB46zmwTJMsAkzq5lGis6LAWVrpo4gs81ykhcTYRoOnNk+nTrMY5RQLbcb1eXrg8dG239Xl64PHXu1QJIhjkCurC5kPAw5DyivmE2wu07TjWODNynJ1viluaC9rRNm1gQnHdeVQjEOD0kUH0zbjery9cHjo243q8vXB46yWxzIU0dsxPFgRbRaZw+KMqUnWEIoAN+IYXBF1wwfmL9tjHKKBbbjery9cHjo22/q8vXB46YxjlFfPdkWxSeaXKEixK2cezmAERFnwizrI6uXGFQElBQ3Yr7+Sg3W3G9Xl64PHRtxvV5euDx1kth+RZ4bYzzxYFFmkhxhozGzm1TyjNqGJSMxyIVU+aLlvJWtrjHKKBfbjery9cHjo243q8vXB46ZxjlFZjZ3k2SeFBAhkdHMixnNtDI2BkzVoVmXyGDsMS6UNzeigvttt6vL1weOjbjery9cHjr59lLY5aZXtDtZseeezWlAXibMyJaFE0VzPdi2qkIJGgiMjhYg/RbNCkaLGgCqihFUcCqouAH+1AvZZS08l6Mm9x6GwG/TLzWNFSRH/qH6KP4paKCM2ZGtD40Rroo/OUNd5UvLU250Wpj7C/KvMf3h+ij+KWmqBfc6LUx9hflRudFqY+wvypiigrrZk+O+Peo+NH4F5G/KmdzotTH2F+Vebbwx9KPc1NUC+50Wpj7C/Kjc6LUx9hflTFFAq+TorjvMXBzF+VQ2DJ8eZj3qPi1/AvIPyp5+A+yocn8TH0a+4UBudFqY+wvyo3Oi1MfYX5UxRQL7nRamPsL8qVsmT48cu9R8aPwLq4vyqypSx+fN0o/xxUHvc6LUx9hflRudFqY+wvypiigX3Oi1MfYX5UtJk+PPoM1H5j/AIF5Y/yqxpWXj4/4P746D1udFqY+wvyo3Oi1MfYX5UxRQL7nRamPsL8qWyjk+MQvvUfBzF+VWNK5T4l/ZQLSmBbQlnMK45EaRd6GHCmENe911/lDRw03udFqY+wvypa15NdrXDOsiKsSupjKMzPnMN5DhgFuwj8J9NWNAvudFqY+wvyrm50Wpj7C/KmaKCpgssawu+11kIkluREjLNdI9yi+4dZAr3kzMzxCRYFXynQo6IGSSNmjdDdeLwysLwSDdoJFdzLvZpEhlEMjPKFlK5zAxkfysN4vu9tS5GsBhgWIlDhvF8augN5JvON3JY33lixJJJ9NBLudFqY+wvyo3Oi1MfYX5UxRQJWaBVncIqrvUfmgLfpl5KK9x/eH6KP4paKAj+8P0UfxS01Ve9mDWhyS4uiTzXkT8UvoUi+oMmzQzhs29ovRgrJI1rhdSQGF6SEG4ggg3XUFvRSu5y86XvZ/FRucvOl72fxUBbeGPpR7mpqqy2ZPW+PypeNA42fkb9Vcvhz+1s7Jnc0Zs3nbReIwQuI+Vo0kDTw6eQ0FpRSu5y86XvZ/FRucvOl72fxUDD8B9lQ5P4mPo19wrw+TluPlS8Gtn8VVrSwwwQmRrR5YVFWM2yZmbAXICR4j5qseD0UF7RSi5PUi/FN/vLOP+MVd3OXnS97P4qBqlLH583Sj/HFXdzl50vez+KkM1HGJ5JJJFRJLyxln0DNxcjaT/wA0FzRSFmsySIHU2gAi8B3tUTf7o5BH+4qXc5edL3s/ioGqVl4+P+D++Ojc5edL3s/ipaTJ655Bil8x/wDVn5Y/1UFnRVPHaIWtG18VqElzMA+3UVlQqGZZGuVgC68BPnCntzl50vez+KgapXKfEv7KNzl50vez+Klso5PUQucUvBrZ/FQWdFU9qtMEcqxPLMHbDoD2pgucYpHjcG5MTgquIi8i4U9ucvOl72fxUDVcpbc5edL3s/io3OXnS97P4qAyd5h6WX/I9NVTJHFFA8skkqqskhLZ2c6BI40ANeSdAuGkk1PYFimjzkbzFbyumS0oyspKsrKzAqQQRcRQWVFK7nLzpe9n8VG5y86XvZ/FQEf3h+ij+KWio7LAFnkALHe4/OZ39MvOJurtB6Xj5LuHNJdfy3y0lkDJskbTySiNDNKJc1E7zKpwqrNnHVSSSOC64AC7009H94foo/ilpqgKKKKBW28MfSj3NVbZ9jWC37aWWQqyTY43IN8kpgII8m/CFhu0nRhQDQKsrbwx9KPc1NUBRRRQeX4D7KoMsZJe0WKJI0jZwgKSSSSwmBzGUEyNGpJYYjovF950ir9+A+yocn8TH0a+4UEsSkKATiIABY6MRHpr3RRQFUeVcmG0Q2iJSt+fjkAYsqsYhZ5QjFdIDYMJI0gG/TV5Slj8+bpR/jioIcgWB4bOI5CCcbsFVmdY0d2dIVZgCyopCgkDzeADQLGiigKVl4+P+D++OmqVl4+P+D++OghsuTmFpltEhUllWKIC/e4VGI33/iaRmJu9Cx8lWFFFAUrlPiX9lNUrlPiX9lBTZY2OSS22O0KUAXM3MWdWjzUrSSDNgXTB1KqMZGAriGmtHRRQFFFFBVS2ITWWWIqHxPLcpZovLEjlTnFBKEMAcQBIuvr1seyU0EJV2xO8rzOcTP5TknDiYAtcMIvuF919w4Azk7zD0sv+R6aoCiiigVj+8P0UfxS0UR/eH6KP4paKCJoS1oe6R03qPQojN/lS85TUu1G18vVD4KE49+ij+KWsFbYGay3CK1OBugIQ8dqZ1tkkoexS+WMQOAvhkOhb+EGg3u1G18vVD4KNqNr5eqHwUyvBprtBWWyytfHv8vGj0Q8jfopnaja+Xqh8FFt4Y+lHuaqdyBb7ViFpwtYogWUWrDiUzYhEyi4NhePRGcRJ5RQXG1G18vVD4KNqNr5eqHwUpsVJ3PswYOrCzRqyyK6OHVQrBlYAg3g8NWtAo9ka47/LwckPgqGwWVszHv8ALxa+iHkH6KffgPsrPZe+4QECYkTWV7oRM5uWSJnLLECSuAOSCLtHsoLnaja+Xqh8FG1G18vVD4KpMlopynM6QyQ4Y2jYmKZBanLIzTNIVwsFuCppJ8qT8N1+loFdqNr5eqHwUrZLK2Obf5eNHoh1cX6KtKrZLsFpxY7sRvzecx3ZqPzc35V/8dNAxtRtfL1Q+Cjaja+Xqh8FZGzw4hkwiGXPpHCJC0FoSQRqjKwM7ACNVbGWQ6X8kaL1v3FArtRtfL1Q+ClpLK2fTf5fMf0Q8sf6Ks6Vl4+P+D++OgNqNr5eqHwUbUbXy9UPgrP2mKZrZa0s+cUvHZ/LlNpjjuUy55YZSrBWwsnmaAWvuvvqz2IxOuTrMsqlHWzorIS5KkKBccQBvuuvvHDfw8NA7tRtfL1Q+Clso2Vsy+/y8HJD4Ks6VynxL+ygNqNr5eqHwUbUbXy9UPgqpyyP+vg4+42edGZFndFxBMN4UFQ2hrr9Po9NR7BYM3Z3jCAIkgRJhDJZWtCiOO+V45NOLFiUn04KC62o2vl6ofBRtRtfL1Q+CmqKCssFlbAd/l42T0Q6x/0UztRtfL1Q+CoobsxJixXY5r8GPFdjkvw4PKvu4MOnk01jbAJg1gYxO+CyWSNY54J2Ky42jtjlzdmZEQI2JxewW4X3m8NvtRtfL1Q+Cjaja+Xqh8FNUUCNliKzyXuz73HpbALtMvNArte4/vD9FH8UtFAR/eH6KP4paapBse2HwYOKjvxYudLyVLv37X96Bqild+/a/vRv37X96AtvDH0o9zU1VbbM7fHxXGjn8jUxv37X96Bqild+/a/vRv37X96Bh+A+yocn8TH0a+4V4fO3HiuD9dQ2DO5mPiuLXn8goLGild+/a/vRv37X96BqlLH583Sj/HFXd+/a/vS1kzuObiuNHP1cVBZ0Urvv7X96N+/a/vQNUrLx8f8AB/fHRv37X96XlzufTivMfn8sdBZUUrv37X96N+/a/vQNUrlPiX9lG/ftf3pfKOdzL8VwfroLKild+/a/vRv37X96Bqild+/a/vRv37X96Ayf5h6WX/I9NVWZPzuA8VxsnP1j0zvv7X96Bqild+/a/vRv37X96Aj+8P0UfxS0VHZcWfkx4eKjuw38svLXaD2nHv0UfxS1lpbbJJY2C2yQzm3TWWF4jEuJzI6pjUKb1jjUuRw4YzWpj+8P0UfxS1LFZEXzY0XTi8lVGm66/R6btFB7QXAC8m4XXm68/mbq9UUUCtt4Y+lHuas3l/K8iS2tEtAF0FkMaEoubaaaSJ/KuJQMAgLkHBeGuN1x0lt4Y+lHuapGsaEsTGhLLhYlVJZToKk+kXAaPyoK3Ypa2ksitIzMwkljJYqxGblkQJjGh8IULi/Fhv8ATVxXmOMKoVQFAFwVQAABwAAcAr1QeX4D7KosrWxorHZ3WbNb/ZUYnB5cbyRI8flcF6s3Bp0VevwH2UrZbOrwRh0Vxm1NzAML8N19x9poKLI1un3RkhlZ2GCaRhigeNFEqLZcAQ4o74i4IcC9ozdfcTWpqOOBVLFVVSxxMVABZuC83cJqSgKqLbaESK0vLM0CBwWlQgMowQ6F0HSeAAC8k6NN1W9JWeIM0ysoYGUXqwBB3uLhBoMfZMrziWIPaWLA2YLBihfOx2iedJBIUG+OkKLeVNwaFjwE372oEsUYKlY4wUvCkKowBvOC6NF/puqegKVl4+P+D++OmqVl4+P+D++OgzNuykwktpgtrYYrNIWLtC4jtS3FViUjQEW9WvvF7qNLK12oyfNjhje8NijVsQuN5IGnRQbBHexzUd7C5jhW9hw3E3adIHVU0cYUBVAUDQFAAAHIAKD1SuU+Jf2U1SuU+Jf2UFRlu2XW2COO0sj3h5IS0YjFm8oM7qwvLMblW433reNCvXvYjazJHK4naeIzbw8jI7mLAl7EqB5LOJGW/ThYcAIAuJLIjMGaNGYcDMqkj06CeCuwWVEvCIiXm8hFC3nlN1BLRRRQVjzKllleSUwopmLTAgGNQ8l7gkG672Vm0yhIIrLIbW+I2tUzbSQs+1pZykayRBd8coVQ6QU0t5RU4tZYkBjYMAQZZQQdIIzj6CK9pk+JSpWKMFb8JCqCuLhwm7Rf+VAxRRRQKx/eH6KP4paKI/vD9FH8UtFBE0rC0PhjL71HpvUXeVLy1Ltl9Se0leWYCWQsbgIUJOkXC+a81hJbfM1ikksUkkkJnzoAtDPPCiiERxMzksodhJIy33gMF0XtcG92xJqD2ko2xJqD2kpkV2grbZaHvj3k8aPxJyNTG2X1J7SUW3hj6Ue5qymW7Sj2u0Rx202ZkszJK0k8qrnHERQpFjGBUQEl0w8Zwk47g1e2H1J7SUbYk1B7SUnsVtOOyI1x8+RQxklnEgV3USrJISzIwAYXngYXXi41bUCj2h7jvJ4OclQ2C0PmY95PFr+JOQU+/AfZWW2U2pFsESGVoZJFCQyiWSzrHKU46RlIBVBe2Fr7yAACSKDQ7Yk1J7SUbYk1B7SVnNjmUXa3zLI2cLGYkB5f+njilVYFaInCokiZXVgAThY+VebtbQK7Yk1B7SUtZLQ+ObeTxo/Emriqzqkynao44LU85cRhxizbPG58iEBVZSCCSQOEDTpIF9BY7ZfUntJRtiTUHtJWXyVAZGsaraJZGVTPLLFaJ5IhCjMI7OSGwynGwTEwJZYHv03VsqBXbEmoPaSl5LQ+fTeT5j/iTljqypWXj4/4P746A2y+pPaSjbEmpPaSsTlnKKma0Zi0sgWSOKVJJ5rjJn487IVxXwQKt8ZZbgc4dFygnVbFJmawws5ctg0s5LFriQGDHS6kAFWOkrcTpJoHNsSag9pKXyjaHzL7yeDnJVlSuU+Jf2UBth9Se0lG2H1J7SVQ7IrSu3YIY7QYJyMeJpXWPNnGqpmS2GV3fRdcSApN4IW/mwSWRklxPnIwyKkmee1q8gRc80czgYlLXcGgHFwG8AL/AGxJqD2ko2xJqD2kpqigrMn2h8B3k8bJ+JNY9M7ZfUntJS+NBZpDK5RMcuNwzR4Vzj3tjUgr7QRdWIsVukvjBnlJEsYsuGWZ0nvtjraMBJ3+MQZsXvfcl5Fw00G/2xJqD2ko2xJqD2kpqigRssjGeTEmDeo9F4N+mXkrte4/vD9FH8UtFAR/eH6KP4paapB7SFtD3hzfFH5qSP8Ail9Kg1LuivNl7qfw0DVFK7orzZe6n8NG6K82Xup/DQFt4Y+lHuamqrLZlBb4/Jl40Hip+Rv00zuivNl7qfw0DVFK7orzZe6n8NG6K82Xup/DQMPwH2VDk/iY+jX3CvD5RW4+TLwaqfw1DYMoLmY/Jl4tf9KfkH6aCxopXdFebL3U/ho3RXmy91P4aBqlLH583Sj/ABxV3dFebL3U/hpWyZQXHL5MvGj/AEp9XF+mgtKKV3RXmy91P4aN0V5svdT+GgapWXj4/wCD++OjdFebL3U/hpaTKC59Dhl8x/8ASn5Y/wBNBZ0UruivNl7qfw0borzZe6n8NA1SuU+Jf2UborzZe6n8NLZRygphcYZeDVT+Ggs6KV3RXmy91P4aN0V5svdT+GgaopXdFebL3U/ho3RXmy91P4aAyf5h6WX/ACPTVVtitoVSCso3yQ8VNwM7EHzeQimN0V5svdT+GgaopXdFebL3U/ho3RXmy91P4aAj+8P0UfxS0VHZZw08hAYb3H5yunpl5wF9doPace/RR++Ws2mVLQglRpsTRZQs0V80ceNrPO8KMRmiFAYu5U3EgC4i/SNIovncHSM0guPp0y0uuxuyiPNCyWfN487m82mHOAXB7rvOAAAPoAHJQWIrtFFArbeGPpR7mpqlbbwx9KPc1NUBRRRQeX4D7KhyfxMfRr7hUz8B9lQ5P4mPo19woGKKKKApSx+fN0o/xxU3Slj8+bpR/jioG6KKKApWXj4/4P746apWXj4/4P746BqiiigKVynxL+ymqVynxL+ygaoqqyjbLQryCOHEqwl0IXEWkANy3Y1v03DDovvvxClLLb7aSMdniUZ3Cbr783jhGIeVzHmOnV8A4CGgorPPly2AkDJZIBcBs/HpCC8NddwPwL+fDcNNRTZatocFbBemZDmMkFhKTpjx4gDcLuBeXhoNNRWbbLNtJI2jm1uUh8SzkG/SMAZMRuI9IAuJvPBXVy5bMRG5puvOEmVV0KwAv0HhGn/jTw0GjorO2fLdsJIbJ5QXMQ2NTdcGwrd+I4govvA0k8FxMliyra2mVZLEEjbCMQkDFD5RZjo0i7ALtGkNpN4oLSP7w/RR/FLRRH94foo/ilooIzaUW0PjdVvijuxELf5UvLU26MWuj7a/OpytcwDkFBDujFro+2vzo3Ri10fbX51NgHIKMA5BQIWy3x3x77HxoPnryN+dM7oxa6Ptr86nwDkFcwDkFBDujFro+2vzo3Ri10fbX51NgHIKMA5BQLvlCK477Hwc9fnUNgyhHmY99j4tfxLyD86ewDkFGAcgoId0YtdH21+dG6MWuj7a/OpsA5BRgHIKCHdGLXR9tfnStkt8eOXfY+NH4l1cX51YYByCu4ByCgg3Ri10fbX50boxa6Ptr86mwDkFGAcgoId0YtdH21+dLSW+PPoc7H5j/jXlT86fwDkFdwDkFBBujFro+2vzo3Ri10fbX51NgHIKMA5BQQ7oxa6Ptr86Wyjb4zC4EsfBz1+dP4ByCu4ByCgg3Ri1sfbX50boxa6Ptr86mwDkFGAcgoId0YtdH21+dG6MWtj7a/OpsA5BRgHIKCHdGLXR9tfnRujFrY+2vzqbAOQUYByCgh3Ri1sfbX50boxa6Ptr86mwDkFGAcgoFLNOrTuVZW3uPzSGu0y8lFOAUUH/2Q=="/>
          <p:cNvSpPr>
            <a:spLocks noChangeAspect="1" noChangeArrowheads="1"/>
          </p:cNvSpPr>
          <p:nvPr/>
        </p:nvSpPr>
        <p:spPr bwMode="auto">
          <a:xfrm>
            <a:off x="79375" y="-727075"/>
            <a:ext cx="1828800" cy="1504950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Oval 6"/>
          <p:cNvSpPr/>
          <p:nvPr/>
        </p:nvSpPr>
        <p:spPr bwMode="auto">
          <a:xfrm>
            <a:off x="8915400" y="152400"/>
            <a:ext cx="990600" cy="990600"/>
          </a:xfrm>
          <a:prstGeom prst="ellips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5486400" y="2105085"/>
            <a:ext cx="3581400" cy="4524315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noAutofit/>
          </a:bodyPr>
          <a:lstStyle/>
          <a:p>
            <a:pPr marL="225425" indent="-225425">
              <a:buClr>
                <a:schemeClr val="bg2"/>
              </a:buClr>
              <a:buSzPct val="125000"/>
              <a:buFont typeface="Wingdings" pitchFamily="2" charset="2"/>
              <a:buChar char="§"/>
            </a:pPr>
            <a:r>
              <a:rPr lang="en-US" sz="1800" dirty="0" smtClean="0">
                <a:solidFill>
                  <a:schemeClr val="bg1"/>
                </a:solidFill>
              </a:rPr>
              <a:t>What is the big deal?  We just need a red light or green light from CMF</a:t>
            </a:r>
          </a:p>
          <a:p>
            <a:pPr marL="225425" indent="-225425">
              <a:buClr>
                <a:schemeClr val="bg2"/>
              </a:buClr>
              <a:buSzPct val="125000"/>
              <a:buFont typeface="Wingdings" pitchFamily="2" charset="2"/>
              <a:buChar char="§"/>
            </a:pPr>
            <a:endParaRPr lang="en-US" sz="1800" dirty="0" smtClean="0">
              <a:solidFill>
                <a:schemeClr val="bg1"/>
              </a:solidFill>
            </a:endParaRPr>
          </a:p>
          <a:p>
            <a:pPr marL="225425" indent="-225425">
              <a:buClr>
                <a:schemeClr val="bg2"/>
              </a:buClr>
              <a:buSzPct val="125000"/>
              <a:buFont typeface="Wingdings" pitchFamily="2" charset="2"/>
              <a:buChar char="§"/>
            </a:pPr>
            <a:r>
              <a:rPr lang="en-US" sz="1800" dirty="0" smtClean="0">
                <a:solidFill>
                  <a:schemeClr val="bg1"/>
                </a:solidFill>
              </a:rPr>
              <a:t>There have been times in the past when CMF has been able to turn around their analysis in a day or two… so 1-2 days is probably sufficient this time, too</a:t>
            </a:r>
          </a:p>
          <a:p>
            <a:pPr marL="225425" indent="-225425">
              <a:buClr>
                <a:schemeClr val="bg2"/>
              </a:buClr>
              <a:buSzPct val="125000"/>
              <a:buFont typeface="Wingdings" pitchFamily="2" charset="2"/>
              <a:buChar char="§"/>
            </a:pPr>
            <a:endParaRPr lang="en-US" sz="1800" dirty="0" smtClean="0">
              <a:solidFill>
                <a:schemeClr val="bg1"/>
              </a:solidFill>
            </a:endParaRPr>
          </a:p>
          <a:p>
            <a:pPr marL="225425" indent="-225425">
              <a:buClr>
                <a:schemeClr val="bg2"/>
              </a:buClr>
              <a:buSzPct val="125000"/>
              <a:buFont typeface="Wingdings" pitchFamily="2" charset="2"/>
              <a:buChar char="§"/>
            </a:pPr>
            <a:r>
              <a:rPr lang="en-US" sz="1800" dirty="0" smtClean="0">
                <a:solidFill>
                  <a:schemeClr val="bg1"/>
                </a:solidFill>
              </a:rPr>
              <a:t>The bond financing is just ancillary to this project – the real meat has to do with the construction itself</a:t>
            </a:r>
          </a:p>
          <a:p>
            <a:pPr marL="225425" indent="-225425">
              <a:buClr>
                <a:schemeClr val="bg2"/>
              </a:buClr>
              <a:buSzPct val="125000"/>
              <a:buFont typeface="Wingdings" pitchFamily="2" charset="2"/>
              <a:buChar char="§"/>
            </a:pPr>
            <a:endParaRPr lang="en-US" sz="1800" dirty="0" smtClean="0">
              <a:solidFill>
                <a:schemeClr val="bg1"/>
              </a:solidFill>
            </a:endParaRPr>
          </a:p>
          <a:p>
            <a:pPr marL="225425" indent="-225425">
              <a:buClr>
                <a:schemeClr val="bg2"/>
              </a:buClr>
              <a:buSzPct val="125000"/>
              <a:buFont typeface="Wingdings" pitchFamily="2" charset="2"/>
              <a:buChar char="§"/>
            </a:pPr>
            <a:endParaRPr lang="en-US" sz="1800" dirty="0" smtClean="0">
              <a:solidFill>
                <a:schemeClr val="bg1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524000" y="2105085"/>
            <a:ext cx="3581400" cy="4524315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noAutofit/>
          </a:bodyPr>
          <a:lstStyle/>
          <a:p>
            <a:pPr marL="225425" indent="-225425">
              <a:buClr>
                <a:schemeClr val="bg2"/>
              </a:buClr>
              <a:buSzPct val="125000"/>
              <a:buFont typeface="Wingdings" pitchFamily="2" charset="2"/>
              <a:buChar char="§"/>
            </a:pPr>
            <a:r>
              <a:rPr lang="en-US" sz="1800" dirty="0" smtClean="0">
                <a:solidFill>
                  <a:schemeClr val="bg1"/>
                </a:solidFill>
              </a:rPr>
              <a:t>Unlike a corporation, UC can’t raise money by issuing </a:t>
            </a:r>
            <a:r>
              <a:rPr lang="en-US" sz="1800" i="1" dirty="0" smtClean="0">
                <a:solidFill>
                  <a:schemeClr val="bg1"/>
                </a:solidFill>
              </a:rPr>
              <a:t>both</a:t>
            </a:r>
            <a:r>
              <a:rPr lang="en-US" sz="1800" dirty="0" smtClean="0">
                <a:solidFill>
                  <a:schemeClr val="bg1"/>
                </a:solidFill>
              </a:rPr>
              <a:t> equity and bonds; it can only issue bonds  </a:t>
            </a:r>
          </a:p>
          <a:p>
            <a:pPr marL="225425" indent="-225425">
              <a:buClr>
                <a:schemeClr val="bg2"/>
              </a:buClr>
              <a:buSzPct val="125000"/>
              <a:buFont typeface="Wingdings" pitchFamily="2" charset="2"/>
              <a:buChar char="§"/>
            </a:pPr>
            <a:endParaRPr lang="en-US" sz="1800" dirty="0" smtClean="0">
              <a:solidFill>
                <a:schemeClr val="bg1"/>
              </a:solidFill>
            </a:endParaRPr>
          </a:p>
          <a:p>
            <a:pPr marL="225425" indent="-225425">
              <a:buClr>
                <a:schemeClr val="bg2"/>
              </a:buClr>
              <a:buSzPct val="125000"/>
              <a:buFont typeface="Wingdings" pitchFamily="2" charset="2"/>
              <a:buChar char="§"/>
            </a:pPr>
            <a:r>
              <a:rPr lang="en-US" sz="1800" dirty="0" smtClean="0">
                <a:solidFill>
                  <a:schemeClr val="bg1"/>
                </a:solidFill>
              </a:rPr>
              <a:t>Entering the capital markets is a serious thing!  If a campus can’t repay, it is a BIG problem</a:t>
            </a:r>
          </a:p>
          <a:p>
            <a:pPr marL="225425" indent="-225425">
              <a:buClr>
                <a:schemeClr val="bg2"/>
              </a:buClr>
              <a:buSzPct val="125000"/>
              <a:buFont typeface="Wingdings" pitchFamily="2" charset="2"/>
              <a:buChar char="§"/>
            </a:pPr>
            <a:endParaRPr lang="en-US" sz="1800" dirty="0" smtClean="0">
              <a:solidFill>
                <a:schemeClr val="bg1"/>
              </a:solidFill>
            </a:endParaRPr>
          </a:p>
          <a:p>
            <a:pPr marL="225425" indent="-225425">
              <a:buClr>
                <a:schemeClr val="bg2"/>
              </a:buClr>
              <a:buSzPct val="125000"/>
              <a:buFont typeface="Wingdings" pitchFamily="2" charset="2"/>
              <a:buChar char="§"/>
            </a:pPr>
            <a:r>
              <a:rPr lang="en-US" sz="1800" dirty="0" smtClean="0">
                <a:solidFill>
                  <a:schemeClr val="bg1"/>
                </a:solidFill>
              </a:rPr>
              <a:t>The analysis goes way beyond UC/UCOP – we have to involve rating agencies, investors, banks, legal counsel, and we have to be able to talk to campus folks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524000" y="1607125"/>
            <a:ext cx="3581400" cy="409700"/>
          </a:xfrm>
          <a:prstGeom prst="rect">
            <a:avLst/>
          </a:prstGeom>
          <a:solidFill>
            <a:schemeClr val="bg2"/>
          </a:solidFill>
        </p:spPr>
        <p:txBody>
          <a:bodyPr wrap="square" rtlCol="0" anchor="ctr">
            <a:noAutofit/>
          </a:bodyPr>
          <a:lstStyle/>
          <a:p>
            <a:pPr marL="225425" indent="-225425" algn="ctr">
              <a:buClr>
                <a:schemeClr val="bg2"/>
              </a:buClr>
              <a:buSzPct val="125000"/>
            </a:pPr>
            <a:r>
              <a:rPr lang="en-US" sz="1600" b="1" dirty="0" smtClean="0">
                <a:solidFill>
                  <a:schemeClr val="bg1"/>
                </a:solidFill>
              </a:rPr>
              <a:t>Situation from </a:t>
            </a:r>
            <a:r>
              <a:rPr lang="en-US" sz="1600" b="1" dirty="0" smtClean="0">
                <a:solidFill>
                  <a:srgbClr val="FFC000"/>
                </a:solidFill>
              </a:rPr>
              <a:t>Our </a:t>
            </a:r>
            <a:r>
              <a:rPr lang="en-US" sz="1600" b="1" dirty="0" smtClean="0">
                <a:solidFill>
                  <a:schemeClr val="bg1"/>
                </a:solidFill>
              </a:rPr>
              <a:t>Perspective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5486400" y="1600200"/>
            <a:ext cx="3581400" cy="409700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 wrap="square" rtlCol="0" anchor="ctr">
            <a:noAutofit/>
          </a:bodyPr>
          <a:lstStyle/>
          <a:p>
            <a:pPr marL="225425" indent="-225425" algn="ctr">
              <a:buClr>
                <a:schemeClr val="bg2"/>
              </a:buClr>
              <a:buSzPct val="125000"/>
            </a:pPr>
            <a:r>
              <a:rPr lang="en-US" sz="1600" b="1" dirty="0" smtClean="0">
                <a:solidFill>
                  <a:schemeClr val="bg1"/>
                </a:solidFill>
              </a:rPr>
              <a:t>Situation from </a:t>
            </a:r>
            <a:r>
              <a:rPr lang="en-US" sz="1600" b="1" dirty="0" smtClean="0">
                <a:solidFill>
                  <a:srgbClr val="FFC000"/>
                </a:solidFill>
              </a:rPr>
              <a:t>Their</a:t>
            </a:r>
            <a:r>
              <a:rPr lang="en-US" sz="1600" b="1" dirty="0" smtClean="0">
                <a:solidFill>
                  <a:schemeClr val="bg1"/>
                </a:solidFill>
              </a:rPr>
              <a:t> Perspective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8867900" y="297875"/>
            <a:ext cx="106680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Capital Markets Finance</a:t>
            </a:r>
            <a:endParaRPr lang="en-US" dirty="0"/>
          </a:p>
        </p:txBody>
      </p:sp>
    </p:spTree>
    <p:custDataLst>
      <p:tags r:id="rId1"/>
    </p:custDataLst>
  </p:cSld>
  <p:clrMapOvr>
    <a:masterClrMapping/>
  </p:clrMapOvr>
  <p:transition xmlns:p14="http://schemas.microsoft.com/office/powerpoint/2010/main">
    <p:cut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Rectangle 2"/>
          <p:cNvSpPr>
            <a:spLocks noGrp="1" noChangeArrowheads="1"/>
          </p:cNvSpPr>
          <p:nvPr>
            <p:ph type="title"/>
          </p:nvPr>
        </p:nvSpPr>
        <p:spPr>
          <a:xfrm>
            <a:off x="762000" y="838200"/>
            <a:ext cx="8153400" cy="304800"/>
          </a:xfrm>
        </p:spPr>
        <p:txBody>
          <a:bodyPr/>
          <a:lstStyle/>
          <a:p>
            <a:pPr lvl="1"/>
            <a:r>
              <a:rPr lang="en-US" sz="2300" dirty="0" smtClean="0"/>
              <a:t>Case Study C:  Part 3 – Two layers of learning</a:t>
            </a:r>
          </a:p>
        </p:txBody>
      </p:sp>
      <p:sp>
        <p:nvSpPr>
          <p:cNvPr id="93188" name="AutoShape 4" descr="data:image/jpg;base64,/9j/4AAQSkZJRgABAQAAAQABAAD/2wCEAAkGBhQSDhQQEA8QEBQUEBkQFA4QFhEQFBAQFBwWFRUQFRQYHycqFxkjGRUTHy8iIycsLCwsFR4xQTIqNSYrLSkBCQoKBQUFDQUFDSkYEhgpKSkpKSkpKSkpKSkpKSkpKSkpKSkpKSkpKSkpKSkpKSkpKSkpKSkpKSkpKSkpKSkpKf/AABEIAMwA9wMBIgACEQEDEQH/xAAbAAACAwEBAQAAAAAAAAAAAAAABAMFBgECB//EAEkQAAIBAQMEDQkIAQMDBQEAAAECAwAEERIFEyFTBhQVIzEzUVJzkZKT0iIyQVRxsbLR0wc0QmFiY3Kis0OBoSR0dRY1NsHCCP/EABQBAQAAAAAAAAAAAAAAAAAAAAD/xAAUEQEAAAAAAAAAAAAAAAAAAAAA/9oADAMBAAIRAxEAPwD7PLaXzhRERrkViWcp5xYXABTzf+a5nJtXF3j/AE67H94foo/ilpqgUzk2ri7x/p0ZybVxd4/06booFM5Nq4u8f6dGcm1cXeP9Om6KBTOTauLvH+nRnJtXF3j/AE6booFM5Nq4u8f6dGcm1cXeP9Om6KBTOTauLvH+nRnJtXF3j/TrL5O+0FpctS5KNjwtCpkefPBlzVyFXC4LyTnI9HovOnRV3YNl1kmWV4bVFKsK4pShLZpdOluTzT1Ggdzk2ri7x/p0ZybVxd4/06rZNnNhWBLQ1tgELsUSYtcjuvnKG4CR/wDR5KnynssslnEZtFqihEq4o84cOcGjzb+HhGj86BvOTauLvH+nRnJtXF3j/TqOfL0CWiOzPMizSrijhN+J106VHpHknqqHZRsijsNjltc2IpGAcK6WdmIVUH5liBQNZybVxd4/06M5Nq4u8f6dYXYr9sAtNshslpsEtia0xCazu7iRZkYMVbzVuDBWuOm8i6qu1f8A9ARLLI0eT55bLHMIXtiuo8psWErGRpvCORew0D0UH07OTauLvH+nRnJtXF3j/TrH7LPtjsNiiVlfbUsiJIlniNzZuRQ6u7Eb2CjAgHSbxo9Ij2WfbNZLEqLcbROwUtZYmF8IYBt8e64EXjRw/kKDaZybVxd4/wBOjOTauLvH+nTQNdoFM5Nq4u8f6dGcm1cXeP8ATpuigUzk2ri7x/p0ZybVxd4/06booFM5Nq4u8f6dGcm1cXeP9Om6KBTOTauLvH+nRnJtXF3j/TpuigWs1oYuyOiqQqterFwQxYelRd5v/NFcj+8P0UfxS0UBH94foo/ilpqlY/vD9FH8UtNUBRRRQFFFFAUUUUBRRRQfJtjv/wA5yh/2Q+Gx1P8AZMdGWf8AyU3/AOqNhViefZPlDKcattUxbWSZlZBLKogVgmIDEAYXvI/Llq+H2evFPa3sVuazJbWMk0LRJNhka/FJC5YYCcR4Qw6hQfNNkf8A8Lyb/wB2nvtNfTPtY2ObcyTMqm6WAbbhN9xDxXkge1cS+0jkrxsk+zGO05Ns+TYp2s8NnZXBwCV3KBlUkkgaS7k6NJPopj/0VO00882UM7JLYmsKnMIiQxu2JmCB/KY/meTkuoEfs0tj5QUZXnW5mgWxwryLHcbTLcDozk4YfxiWtXsgyLBarM0FrQPCbnZWZox5BxAllIIAIv4fRSOwfYtudYlsYmz6ozFHKCMgOS5U3E3+UW06OGvOz/ItoteTZrLZJEiklATHIWVc2SM4pKgnSt44PTQfKNg9lGU9kBtkCFLFk6IQ2cHEd7jVo7OgLabz5chvvI4Dw18/yd/7Ba//ACFl+C019m+znYRlbJ7xwSTZP2mHd5o4gxlkLKbjiMYvN+AcPAt1Ze0fYdlBBNYoJrIbJLaUnz0hkEqiISKgKheG6Q3gX3kDSNNAl9p2S4l2O5JtCwxrK8MKvMqqHdRZxcGYC9rsK3X8F1TfbrkyJLPk2ZIY0kkRs5KiqrS3JBdjYDyrrzw8tbn7QvsymteS7HYbJJENq4VxTlkxIkebB8lW0nQaj+077NrTlGz2KKzvZ1azKwcys6gkrGow4UN+lDw3eig+lrwV2uCu0BRRRQFFFFAUUUUBRRRQKx/eH6KP4paKI/vD9FH8UtFBE8xW0PdG771HpUxi7ypecwqXbjery9cHjoRv+ofoo/ilpLZRY89Y5IlMt7YQDCY8YuZTiukIV1F17KfOUMum+6gd22/q8vXB46NuN6vL1weOvncOxm1XPnLLGpkzUxWJohEjR2aeJogpbyTnGW4C8DH51wJGm2FZJls2ejm0qrJFBKSpaSzIt8eO4+egbNknhzd/poL7bjery9cHjo243q8vXB46ZxjlFUmzHJW2rC9mUm+Ro1xIQGjGcQmUEkaVALcuigstuN6vL1weOjbjery9cHjr53FsZtmcd7TDtgSSvJLEjxYZJpbJCiugZh5CTCdBfcRjVrvSHtj2xy1w2yB5TnUJU2h2dTdaYbKIBaUBN5Ehd1bRffGhu0mg223G9Xl64PHRtxvV5euDx0xjHKK7jHKKBbbbery9cHjo22/q8vXB46zuXtjQmyhFKIUZTZ5xLKSuic7W2uTeb9Gae64XDTzjfl//AEraTHZcVlJzUMEMqE2aQsYbLaonNzOAymWWIAk+jFoABoPpW3G9Xl64PHRtxvV5euDx1NEwwjgGgaL77vyvr3jHKKBbbjery9cHjo22/q8vXB46yez3Y5NaZFay6C9knsssiuEZL83PAwvIv32HBo9ExqqtOxm0GYytZsRlsV7qu12CWyV7TK6B2cFcBmj8pb8QQLwUH0Hbjery9cHjo243q8vXB46zmwTJMsAkzq5lGis6LAWVrpo4gs81ykhcTYRoOnNk+nTrMY5RQLbcb1eXrg8dG239Xl64PHXu1QJIhjkCurC5kPAw5DyivmE2wu07TjWODNynJ1viluaC9rRNm1gQnHdeVQjEOD0kUH0zbjery9cHjo243q8vXB46yWxzIU0dsxPFgRbRaZw+KMqUnWEIoAN+IYXBF1wwfmL9tjHKKBbbjery9cHjo22/q8vXB46YxjlFfPdkWxSeaXKEixK2cezmAERFnwizrI6uXGFQElBQ3Yr7+Sg3W3G9Xl64PHRtxvV5euDx1kth+RZ4bYzzxYFFmkhxhozGzm1TyjNqGJSMxyIVU+aLlvJWtrjHKKBfbjery9cHjo243q8vXB46ZxjlFZjZ3k2SeFBAhkdHMixnNtDI2BkzVoVmXyGDsMS6UNzeigvttt6vL1weOjbjery9cHjr59lLY5aZXtDtZseeezWlAXibMyJaFE0VzPdi2qkIJGgiMjhYg/RbNCkaLGgCqihFUcCqouAH+1AvZZS08l6Mm9x6GwG/TLzWNFSRH/qH6KP4paKCM2ZGtD40Rroo/OUNd5UvLU250Wpj7C/KvMf3h+ij+KWmqBfc6LUx9hflRudFqY+wvypiigrrZk+O+Peo+NH4F5G/KmdzotTH2F+Vebbwx9KPc1NUC+50Wpj7C/Kjc6LUx9hflTFFAq+TorjvMXBzF+VQ2DJ8eZj3qPi1/AvIPyp5+A+yocn8TH0a+4UBudFqY+wvyo3Oi1MfYX5UxRQL7nRamPsL8qVsmT48cu9R8aPwLq4vyqypSx+fN0o/xxUHvc6LUx9hflRudFqY+wvypiigX3Oi1MfYX5UtJk+PPoM1H5j/AIF5Y/yqxpWXj4/4P746D1udFqY+wvyo3Oi1MfYX5UxRQL7nRamPsL8qWyjk+MQvvUfBzF+VWNK5T4l/ZQLSmBbQlnMK45EaRd6GHCmENe911/lDRw03udFqY+wvypa15NdrXDOsiKsSupjKMzPnMN5DhgFuwj8J9NWNAvudFqY+wvyrm50Wpj7C/KmaKCpgssawu+11kIkluREjLNdI9yi+4dZAr3kzMzxCRYFXynQo6IGSSNmjdDdeLwysLwSDdoJFdzLvZpEhlEMjPKFlK5zAxkfysN4vu9tS5GsBhgWIlDhvF8augN5JvON3JY33lixJJJ9NBLudFqY+wvyo3Oi1MfYX5UxRQJWaBVncIqrvUfmgLfpl5KK9x/eH6KP4paKAj+8P0UfxS01Ve9mDWhyS4uiTzXkT8UvoUi+oMmzQzhs29ovRgrJI1rhdSQGF6SEG4ggg3XUFvRSu5y86XvZ/FRucvOl72fxUBbeGPpR7mpqqy2ZPW+PypeNA42fkb9Vcvhz+1s7Jnc0Zs3nbReIwQuI+Vo0kDTw6eQ0FpRSu5y86XvZ/FRucvOl72fxUDD8B9lQ5P4mPo19wrw+TluPlS8Gtn8VVrSwwwQmRrR5YVFWM2yZmbAXICR4j5qseD0UF7RSi5PUi/FN/vLOP+MVd3OXnS97P4qBqlLH583Sj/HFXdzl50vez+KkM1HGJ5JJJFRJLyxln0DNxcjaT/wA0FzRSFmsySIHU2gAi8B3tUTf7o5BH+4qXc5edL3s/ioGqVl4+P+D++Ojc5edL3s/ipaTJ655Bil8x/wDVn5Y/1UFnRVPHaIWtG18VqElzMA+3UVlQqGZZGuVgC68BPnCntzl50vez+KgapXKfEv7KNzl50vez+Klso5PUQucUvBrZ/FQWdFU9qtMEcqxPLMHbDoD2pgucYpHjcG5MTgquIi8i4U9ucvOl72fxUDVcpbc5edL3s/io3OXnS97P4qAyd5h6WX/I9NVTJHFFA8skkqqskhLZ2c6BI40ANeSdAuGkk1PYFimjzkbzFbyumS0oyspKsrKzAqQQRcRQWVFK7nLzpe9n8VG5y86XvZ/FQEf3h+ij+KWio7LAFnkALHe4/OZ39MvOJurtB6Xj5LuHNJdfy3y0lkDJskbTySiNDNKJc1E7zKpwqrNnHVSSSOC64AC7009H94foo/ilpqgKKKKBW28MfSj3NVbZ9jWC37aWWQqyTY43IN8kpgII8m/CFhu0nRhQDQKsrbwx9KPc1NUBRRRQeX4D7KoMsZJe0WKJI0jZwgKSSSSwmBzGUEyNGpJYYjovF950ir9+A+yocn8TH0a+4UEsSkKATiIABY6MRHpr3RRQFUeVcmG0Q2iJSt+fjkAYsqsYhZ5QjFdIDYMJI0gG/TV5Slj8+bpR/jioIcgWB4bOI5CCcbsFVmdY0d2dIVZgCyopCgkDzeADQLGiigKVl4+P+D++OmqVl4+P+D++OghsuTmFpltEhUllWKIC/e4VGI33/iaRmJu9Cx8lWFFFAUrlPiX9lNUrlPiX9lBTZY2OSS22O0KUAXM3MWdWjzUrSSDNgXTB1KqMZGAriGmtHRRQFFFFBVS2ITWWWIqHxPLcpZovLEjlTnFBKEMAcQBIuvr1seyU0EJV2xO8rzOcTP5TknDiYAtcMIvuF919w4Azk7zD0sv+R6aoCiiigVj+8P0UfxS0UR/eH6KP4paKCJoS1oe6R03qPQojN/lS85TUu1G18vVD4KE49+ij+KWsFbYGay3CK1OBugIQ8dqZ1tkkoexS+WMQOAvhkOhb+EGg3u1G18vVD4KNqNr5eqHwUyvBprtBWWyytfHv8vGj0Q8jfopnaja+Xqh8FFt4Y+lHuaqdyBb7ViFpwtYogWUWrDiUzYhEyi4NhePRGcRJ5RQXG1G18vVD4KNqNr5eqHwUpsVJ3PswYOrCzRqyyK6OHVQrBlYAg3g8NWtAo9ka47/LwckPgqGwWVszHv8ALxa+iHkH6KffgPsrPZe+4QECYkTWV7oRM5uWSJnLLECSuAOSCLtHsoLnaja+Xqh8FG1G18vVD4KpMlopynM6QyQ4Y2jYmKZBanLIzTNIVwsFuCppJ8qT8N1+loFdqNr5eqHwUrZLK2Obf5eNHoh1cX6KtKrZLsFpxY7sRvzecx3ZqPzc35V/8dNAxtRtfL1Q+Cjaja+Xqh8FZGzw4hkwiGXPpHCJC0FoSQRqjKwM7ACNVbGWQ6X8kaL1v3FArtRtfL1Q+ClpLK2fTf5fMf0Q8sf6Ks6Vl4+P+D++OgNqNr5eqHwUbUbXy9UPgrP2mKZrZa0s+cUvHZ/LlNpjjuUy55YZSrBWwsnmaAWvuvvqz2IxOuTrMsqlHWzorIS5KkKBccQBvuuvvHDfw8NA7tRtfL1Q+Clso2Vsy+/y8HJD4Ks6VynxL+ygNqNr5eqHwUbUbXy9UPgqpyyP+vg4+42edGZFndFxBMN4UFQ2hrr9Po9NR7BYM3Z3jCAIkgRJhDJZWtCiOO+V45NOLFiUn04KC62o2vl6ofBRtRtfL1Q+CmqKCssFlbAd/l42T0Q6x/0UztRtfL1Q+CoobsxJixXY5r8GPFdjkvw4PKvu4MOnk01jbAJg1gYxO+CyWSNY54J2Ky42jtjlzdmZEQI2JxewW4X3m8NvtRtfL1Q+Cjaja+Xqh8FNUUCNliKzyXuz73HpbALtMvNArte4/vD9FH8UtFAR/eH6KP4paapBse2HwYOKjvxYudLyVLv37X96Bqild+/a/vRv37X96AtvDH0o9zU1VbbM7fHxXGjn8jUxv37X96Bqild+/a/vRv37X96Bh+A+yocn8TH0a+4V4fO3HiuD9dQ2DO5mPiuLXn8goLGild+/a/vRv37X96BqlLH583Sj/HFXd+/a/vS1kzuObiuNHP1cVBZ0Urvv7X96N+/a/vQNUrLx8f8AB/fHRv37X96XlzufTivMfn8sdBZUUrv37X96N+/a/vQNUrlPiX9lG/ftf3pfKOdzL8VwfroLKild+/a/vRv37X96Bqild+/a/vRv37X96Ayf5h6WX/I9NVWZPzuA8VxsnP1j0zvv7X96Bqild+/a/vRv37X96Aj+8P0UfxS0VHZcWfkx4eKjuw38svLXaD2nHv0UfxS1lpbbJJY2C2yQzm3TWWF4jEuJzI6pjUKb1jjUuRw4YzWpj+8P0UfxS1LFZEXzY0XTi8lVGm66/R6btFB7QXAC8m4XXm68/mbq9UUUCtt4Y+lHuas3l/K8iS2tEtAF0FkMaEoubaaaSJ/KuJQMAgLkHBeGuN1x0lt4Y+lHuapGsaEsTGhLLhYlVJZToKk+kXAaPyoK3Ypa2ksitIzMwkljJYqxGblkQJjGh8IULi/Fhv8ATVxXmOMKoVQFAFwVQAABwAAcAr1QeX4D7KosrWxorHZ3WbNb/ZUYnB5cbyRI8flcF6s3Bp0VevwH2UrZbOrwRh0Vxm1NzAML8N19x9poKLI1un3RkhlZ2GCaRhigeNFEqLZcAQ4o74i4IcC9ozdfcTWpqOOBVLFVVSxxMVABZuC83cJqSgKqLbaESK0vLM0CBwWlQgMowQ6F0HSeAAC8k6NN1W9JWeIM0ysoYGUXqwBB3uLhBoMfZMrziWIPaWLA2YLBihfOx2iedJBIUG+OkKLeVNwaFjwE372oEsUYKlY4wUvCkKowBvOC6NF/puqegKVl4+P+D++OmqVl4+P+D++OgzNuykwktpgtrYYrNIWLtC4jtS3FViUjQEW9WvvF7qNLK12oyfNjhje8NijVsQuN5IGnRQbBHexzUd7C5jhW9hw3E3adIHVU0cYUBVAUDQFAAAHIAKD1SuU+Jf2U1SuU+Jf2UFRlu2XW2COO0sj3h5IS0YjFm8oM7qwvLMblW433reNCvXvYjazJHK4naeIzbw8jI7mLAl7EqB5LOJGW/ThYcAIAuJLIjMGaNGYcDMqkj06CeCuwWVEvCIiXm8hFC3nlN1BLRRRQVjzKllleSUwopmLTAgGNQ8l7gkG672Vm0yhIIrLIbW+I2tUzbSQs+1pZykayRBd8coVQ6QU0t5RU4tZYkBjYMAQZZQQdIIzj6CK9pk+JSpWKMFb8JCqCuLhwm7Rf+VAxRRRQKx/eH6KP4paKI/vD9FH8UtFBE0rC0PhjL71HpvUXeVLy1Ltl9Se0leWYCWQsbgIUJOkXC+a81hJbfM1ikksUkkkJnzoAtDPPCiiERxMzksodhJIy33gMF0XtcG92xJqD2ko2xJqD2kpkV2grbZaHvj3k8aPxJyNTG2X1J7SUW3hj6Ue5qymW7Sj2u0Rx202ZkszJK0k8qrnHERQpFjGBUQEl0w8Zwk47g1e2H1J7SUbYk1B7SUnsVtOOyI1x8+RQxklnEgV3USrJISzIwAYXngYXXi41bUCj2h7jvJ4OclQ2C0PmY95PFr+JOQU+/AfZWW2U2pFsESGVoZJFCQyiWSzrHKU46RlIBVBe2Fr7yAACSKDQ7Yk1J7SUbYk1B7SVnNjmUXa3zLI2cLGYkB5f+njilVYFaInCokiZXVgAThY+VebtbQK7Yk1B7SUtZLQ+ObeTxo/Emriqzqkynao44LU85cRhxizbPG58iEBVZSCCSQOEDTpIF9BY7ZfUntJRtiTUHtJWXyVAZGsaraJZGVTPLLFaJ5IhCjMI7OSGwynGwTEwJZYHv03VsqBXbEmoPaSl5LQ+fTeT5j/iTljqypWXj4/4P746A2y+pPaSjbEmpPaSsTlnKKma0Zi0sgWSOKVJJ5rjJn487IVxXwQKt8ZZbgc4dFygnVbFJmawws5ctg0s5LFriQGDHS6kAFWOkrcTpJoHNsSag9pKXyjaHzL7yeDnJVlSuU+Jf2UBth9Se0lG2H1J7SVQ7IrSu3YIY7QYJyMeJpXWPNnGqpmS2GV3fRdcSApN4IW/mwSWRklxPnIwyKkmee1q8gRc80czgYlLXcGgHFwG8AL/AGxJqD2ko2xJqD2kpqigrMn2h8B3k8bJ+JNY9M7ZfUntJS+NBZpDK5RMcuNwzR4Vzj3tjUgr7QRdWIsVukvjBnlJEsYsuGWZ0nvtjraMBJ3+MQZsXvfcl5Fw00G/2xJqD2ko2xJqD2kpqigRssjGeTEmDeo9F4N+mXkrte4/vD9FH8UtFAR/eH6KP4paapB7SFtD3hzfFH5qSP8Ail9Kg1LuivNl7qfw0DVFK7orzZe6n8NG6K82Xup/DQFt4Y+lHuamqrLZlBb4/Jl40Hip+Rv00zuivNl7qfw0DVFK7orzZe6n8NG6K82Xup/DQMPwH2VDk/iY+jX3CvD5RW4+TLwaqfw1DYMoLmY/Jl4tf9KfkH6aCxopXdFebL3U/ho3RXmy91P4aBqlLH583Sj/ABxV3dFebL3U/hpWyZQXHL5MvGj/AEp9XF+mgtKKV3RXmy91P4aN0V5svdT+GgapWXj4/wCD++OjdFebL3U/hpaTKC59Dhl8x/8ASn5Y/wBNBZ0UruivNl7qfw0borzZe6n8NA1SuU+Jf2UborzZe6n8NLZRygphcYZeDVT+Ggs6KV3RXmy91P4aN0V5svdT+GgaopXdFebL3U/ho3RXmy91P4aAyf5h6WX/ACPTVVtitoVSCso3yQ8VNwM7EHzeQimN0V5svdT+GgaopXdFebL3U/ho3RXmy91P4aAj+8P0UfxS0VHZZw08hAYb3H5yunpl5wF9doPace/RR++Ws2mVLQglRpsTRZQs0V80ceNrPO8KMRmiFAYu5U3EgC4i/SNIovncHSM0guPp0y0uuxuyiPNCyWfN487m82mHOAXB7rvOAAAPoAHJQWIrtFFArbeGPpR7mpqlbbwx9KPc1NUBRRRQeX4D7KhyfxMfRr7hUz8B9lQ5P4mPo19woGKKKKApSx+fN0o/xxU3Slj8+bpR/jioG6KKKApWXj4/4P746apWXj4/4P746BqiiigKVynxL+ymqVynxL+ygaoqqyjbLQryCOHEqwl0IXEWkANy3Y1v03DDovvvxClLLb7aSMdniUZ3Cbr783jhGIeVzHmOnV8A4CGgorPPly2AkDJZIBcBs/HpCC8NddwPwL+fDcNNRTZatocFbBemZDmMkFhKTpjx4gDcLuBeXhoNNRWbbLNtJI2jm1uUh8SzkG/SMAZMRuI9IAuJvPBXVy5bMRG5puvOEmVV0KwAv0HhGn/jTw0GjorO2fLdsJIbJ5QXMQ2NTdcGwrd+I4govvA0k8FxMliyra2mVZLEEjbCMQkDFD5RZjo0i7ALtGkNpN4oLSP7w/RR/FLRRH94foo/ilooIzaUW0PjdVvijuxELf5UvLU26MWuj7a/OpytcwDkFBDujFro+2vzo3Ri10fbX51NgHIKMA5BQIWy3x3x77HxoPnryN+dM7oxa6Ptr86nwDkFcwDkFBDujFro+2vzo3Ri10fbX51NgHIKMA5BQLvlCK477Hwc9fnUNgyhHmY99j4tfxLyD86ewDkFGAcgoId0YtdH21+dG6MWuj7a/OpsA5BRgHIKCHdGLXR9tfnStkt8eOXfY+NH4l1cX51YYByCu4ByCgg3Ri10fbX50boxa6Ptr86mwDkFGAcgoId0YtdH21+dLSW+PPoc7H5j/jXlT86fwDkFdwDkFBBujFro+2vzo3Ri10fbX51NgHIKMA5BQQ7oxa6Ptr86Wyjb4zC4EsfBz1+dP4ByCu4ByCgg3Ri1sfbX50boxa6Ptr86mwDkFGAcgoId0YtdH21+dG6MWtj7a/OpsA5BRgHIKCHdGLXR9tfnRujFrY+2vzqbAOQUYByCgh3Ri1sfbX50boxa6Ptr86mwDkFGAcgoFLNOrTuVZW3uPzSGu0y8lFOAUUH/2Q=="/>
          <p:cNvSpPr>
            <a:spLocks noChangeAspect="1" noChangeArrowheads="1"/>
          </p:cNvSpPr>
          <p:nvPr/>
        </p:nvSpPr>
        <p:spPr bwMode="auto">
          <a:xfrm>
            <a:off x="79375" y="-727075"/>
            <a:ext cx="1828800" cy="1504950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Oval 6"/>
          <p:cNvSpPr/>
          <p:nvPr/>
        </p:nvSpPr>
        <p:spPr bwMode="auto">
          <a:xfrm>
            <a:off x="8915400" y="152400"/>
            <a:ext cx="990600" cy="990600"/>
          </a:xfrm>
          <a:prstGeom prst="ellips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graphicFrame>
        <p:nvGraphicFramePr>
          <p:cNvPr id="9" name="Diagram 8"/>
          <p:cNvGraphicFramePr/>
          <p:nvPr/>
        </p:nvGraphicFramePr>
        <p:xfrm>
          <a:off x="1676400" y="1651000"/>
          <a:ext cx="6705600" cy="4470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8867900" y="297875"/>
            <a:ext cx="106680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Capital Markets Finance</a:t>
            </a:r>
            <a:endParaRPr lang="en-US" dirty="0"/>
          </a:p>
        </p:txBody>
      </p:sp>
    </p:spTree>
    <p:custDataLst>
      <p:tags r:id="rId1"/>
    </p:custDataLst>
  </p:cSld>
  <p:clrMapOvr>
    <a:masterClrMapping/>
  </p:clrMapOvr>
  <p:transition xmlns:p14="http://schemas.microsoft.com/office/powerpoint/2010/main">
    <p:cut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Oval 33"/>
          <p:cNvSpPr/>
          <p:nvPr/>
        </p:nvSpPr>
        <p:spPr bwMode="auto">
          <a:xfrm>
            <a:off x="3188525" y="2590800"/>
            <a:ext cx="2286000" cy="2286000"/>
          </a:xfrm>
          <a:prstGeom prst="ellipse">
            <a:avLst/>
          </a:prstGeom>
          <a:solidFill>
            <a:schemeClr val="bg2">
              <a:lumMod val="60000"/>
              <a:lumOff val="40000"/>
            </a:schemeClr>
          </a:solidFill>
          <a:ln w="381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18" name="Oval 17"/>
          <p:cNvSpPr/>
          <p:nvPr/>
        </p:nvSpPr>
        <p:spPr bwMode="auto">
          <a:xfrm>
            <a:off x="993575" y="3962400"/>
            <a:ext cx="2286000" cy="2286000"/>
          </a:xfrm>
          <a:prstGeom prst="ellipse">
            <a:avLst/>
          </a:prstGeom>
          <a:solidFill>
            <a:schemeClr val="bg2">
              <a:lumMod val="60000"/>
              <a:lumOff val="40000"/>
            </a:schemeClr>
          </a:solidFill>
          <a:ln w="381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15" name="Rectangle 2"/>
          <p:cNvSpPr txBox="1">
            <a:spLocks noChangeArrowheads="1"/>
          </p:cNvSpPr>
          <p:nvPr/>
        </p:nvSpPr>
        <p:spPr bwMode="auto">
          <a:xfrm>
            <a:off x="762000" y="838200"/>
            <a:ext cx="2667000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marL="0" lvl="1" defTabSz="1019175" eaLnBrk="0" hangingPunct="0">
              <a:lnSpc>
                <a:spcPts val="2788"/>
              </a:lnSpc>
            </a:pPr>
            <a:r>
              <a:rPr lang="en-US" sz="2300" b="1" kern="0" dirty="0" smtClean="0">
                <a:ea typeface="LF_Kai" pitchFamily="2" charset="-122"/>
              </a:rPr>
              <a:t>CFO Division</a:t>
            </a:r>
          </a:p>
          <a:p>
            <a:pPr marL="0" lvl="1" defTabSz="1019175" eaLnBrk="0" hangingPunct="0">
              <a:lnSpc>
                <a:spcPts val="2788"/>
              </a:lnSpc>
            </a:pPr>
            <a:r>
              <a:rPr lang="en-US" sz="2300" b="1" kern="0" dirty="0" smtClean="0">
                <a:ea typeface="LF_Kai" pitchFamily="2" charset="-122"/>
              </a:rPr>
              <a:t>Announcements…</a:t>
            </a:r>
            <a:endParaRPr kumimoji="0" lang="en-US" sz="2300" b="1" i="0" u="none" strike="noStrike" kern="0" cap="none" spc="0" normalizeH="0" baseline="0" noProof="0" dirty="0" smtClean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Trebuchet MS" pitchFamily="34" charset="0"/>
              <a:ea typeface="LF_Kai" pitchFamily="2" charset="-122"/>
              <a:cs typeface="LF_Kai"/>
            </a:endParaRPr>
          </a:p>
        </p:txBody>
      </p:sp>
      <p:sp>
        <p:nvSpPr>
          <p:cNvPr id="71" name="Oval 70"/>
          <p:cNvSpPr/>
          <p:nvPr/>
        </p:nvSpPr>
        <p:spPr bwMode="auto">
          <a:xfrm>
            <a:off x="871850" y="1483086"/>
            <a:ext cx="2286000" cy="2286000"/>
          </a:xfrm>
          <a:prstGeom prst="ellipse">
            <a:avLst/>
          </a:prstGeom>
          <a:solidFill>
            <a:schemeClr val="bg2">
              <a:lumMod val="60000"/>
              <a:lumOff val="40000"/>
            </a:schemeClr>
          </a:solidFill>
          <a:ln w="381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grpSp>
        <p:nvGrpSpPr>
          <p:cNvPr id="2" name="Group 71"/>
          <p:cNvGrpSpPr/>
          <p:nvPr/>
        </p:nvGrpSpPr>
        <p:grpSpPr>
          <a:xfrm>
            <a:off x="228600" y="2197247"/>
            <a:ext cx="3538850" cy="980405"/>
            <a:chOff x="2057400" y="1955770"/>
            <a:chExt cx="3538850" cy="980405"/>
          </a:xfrm>
        </p:grpSpPr>
        <p:sp>
          <p:nvSpPr>
            <p:cNvPr id="74" name="Curved Up Ribbon 73"/>
            <p:cNvSpPr/>
            <p:nvPr/>
          </p:nvSpPr>
          <p:spPr bwMode="auto">
            <a:xfrm>
              <a:off x="2057400" y="1955770"/>
              <a:ext cx="3538850" cy="980405"/>
            </a:xfrm>
            <a:prstGeom prst="ellipseRibbon2">
              <a:avLst/>
            </a:prstGeom>
            <a:solidFill>
              <a:srgbClr val="FFFF00"/>
            </a:solidFill>
            <a:ln w="25400" cap="flat" cmpd="sng" algn="ctr">
              <a:solidFill>
                <a:srgbClr val="FFCC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endParaRPr>
            </a:p>
          </p:txBody>
        </p:sp>
        <p:sp>
          <p:nvSpPr>
            <p:cNvPr id="75" name="TextBox 74"/>
            <p:cNvSpPr txBox="1"/>
            <p:nvPr/>
          </p:nvSpPr>
          <p:spPr>
            <a:xfrm>
              <a:off x="2907475" y="2135778"/>
              <a:ext cx="1828800" cy="369332"/>
            </a:xfrm>
            <a:prstGeom prst="rect">
              <a:avLst/>
            </a:prstGeom>
            <a:noFill/>
            <a:ln w="5080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800" b="1" dirty="0" smtClean="0">
                  <a:solidFill>
                    <a:schemeClr val="bg2"/>
                  </a:solidFill>
                </a:rPr>
                <a:t>Rich Powell!</a:t>
              </a:r>
            </a:p>
          </p:txBody>
        </p:sp>
      </p:grpSp>
      <p:sp>
        <p:nvSpPr>
          <p:cNvPr id="76" name="Oval 75"/>
          <p:cNvSpPr/>
          <p:nvPr/>
        </p:nvSpPr>
        <p:spPr bwMode="auto">
          <a:xfrm>
            <a:off x="6964875" y="5334000"/>
            <a:ext cx="2286000" cy="2286000"/>
          </a:xfrm>
          <a:prstGeom prst="ellipse">
            <a:avLst/>
          </a:prstGeom>
          <a:solidFill>
            <a:schemeClr val="bg2">
              <a:lumMod val="60000"/>
              <a:lumOff val="40000"/>
            </a:schemeClr>
          </a:solidFill>
          <a:ln w="381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grpSp>
        <p:nvGrpSpPr>
          <p:cNvPr id="3" name="Group 80"/>
          <p:cNvGrpSpPr/>
          <p:nvPr/>
        </p:nvGrpSpPr>
        <p:grpSpPr>
          <a:xfrm>
            <a:off x="6367150" y="6055086"/>
            <a:ext cx="3538850" cy="980405"/>
            <a:chOff x="2057400" y="1955770"/>
            <a:chExt cx="3538850" cy="980405"/>
          </a:xfrm>
        </p:grpSpPr>
        <p:sp>
          <p:nvSpPr>
            <p:cNvPr id="82" name="Curved Up Ribbon 81"/>
            <p:cNvSpPr/>
            <p:nvPr/>
          </p:nvSpPr>
          <p:spPr bwMode="auto">
            <a:xfrm>
              <a:off x="2057400" y="1955770"/>
              <a:ext cx="3538850" cy="980405"/>
            </a:xfrm>
            <a:prstGeom prst="ellipseRibbon2">
              <a:avLst/>
            </a:prstGeom>
            <a:solidFill>
              <a:srgbClr val="FFFF00"/>
            </a:solidFill>
            <a:ln w="25400" cap="flat" cmpd="sng" algn="ctr">
              <a:solidFill>
                <a:srgbClr val="FFCC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endParaRPr>
            </a:p>
          </p:txBody>
        </p:sp>
        <p:sp>
          <p:nvSpPr>
            <p:cNvPr id="83" name="TextBox 82"/>
            <p:cNvSpPr txBox="1"/>
            <p:nvPr/>
          </p:nvSpPr>
          <p:spPr>
            <a:xfrm>
              <a:off x="2907475" y="2150119"/>
              <a:ext cx="1828800" cy="369332"/>
            </a:xfrm>
            <a:prstGeom prst="rect">
              <a:avLst/>
            </a:prstGeom>
            <a:noFill/>
            <a:ln w="5080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800" b="1" dirty="0" smtClean="0">
                  <a:solidFill>
                    <a:schemeClr val="bg2"/>
                  </a:solidFill>
                </a:rPr>
                <a:t>Mike Riley!</a:t>
              </a:r>
            </a:p>
          </p:txBody>
        </p:sp>
      </p:grpSp>
      <p:sp>
        <p:nvSpPr>
          <p:cNvPr id="86" name="Oval 85"/>
          <p:cNvSpPr/>
          <p:nvPr/>
        </p:nvSpPr>
        <p:spPr bwMode="auto">
          <a:xfrm>
            <a:off x="6988625" y="228600"/>
            <a:ext cx="2286000" cy="2286000"/>
          </a:xfrm>
          <a:prstGeom prst="ellipse">
            <a:avLst/>
          </a:prstGeom>
          <a:solidFill>
            <a:schemeClr val="bg2">
              <a:lumMod val="60000"/>
              <a:lumOff val="40000"/>
            </a:schemeClr>
          </a:solidFill>
          <a:ln w="381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99" name="Oval 98"/>
          <p:cNvSpPr/>
          <p:nvPr/>
        </p:nvSpPr>
        <p:spPr bwMode="auto">
          <a:xfrm>
            <a:off x="3276600" y="5181600"/>
            <a:ext cx="2286000" cy="2286000"/>
          </a:xfrm>
          <a:prstGeom prst="ellipse">
            <a:avLst/>
          </a:prstGeom>
          <a:solidFill>
            <a:schemeClr val="bg2">
              <a:lumMod val="60000"/>
              <a:lumOff val="40000"/>
            </a:schemeClr>
          </a:solidFill>
          <a:ln w="381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grpSp>
        <p:nvGrpSpPr>
          <p:cNvPr id="4" name="Group 101"/>
          <p:cNvGrpSpPr/>
          <p:nvPr/>
        </p:nvGrpSpPr>
        <p:grpSpPr>
          <a:xfrm>
            <a:off x="2667000" y="5867400"/>
            <a:ext cx="3538850" cy="980405"/>
            <a:chOff x="2057400" y="1955770"/>
            <a:chExt cx="3538850" cy="980405"/>
          </a:xfrm>
        </p:grpSpPr>
        <p:sp>
          <p:nvSpPr>
            <p:cNvPr id="103" name="Curved Up Ribbon 102"/>
            <p:cNvSpPr/>
            <p:nvPr/>
          </p:nvSpPr>
          <p:spPr bwMode="auto">
            <a:xfrm>
              <a:off x="2057400" y="1955770"/>
              <a:ext cx="3538850" cy="980405"/>
            </a:xfrm>
            <a:prstGeom prst="ellipseRibbon2">
              <a:avLst/>
            </a:prstGeom>
            <a:solidFill>
              <a:srgbClr val="FFFF00"/>
            </a:solidFill>
            <a:ln w="25400" cap="flat" cmpd="sng" algn="ctr">
              <a:solidFill>
                <a:srgbClr val="FFCC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endParaRPr>
            </a:p>
          </p:txBody>
        </p:sp>
        <p:sp>
          <p:nvSpPr>
            <p:cNvPr id="104" name="TextBox 103"/>
            <p:cNvSpPr txBox="1"/>
            <p:nvPr/>
          </p:nvSpPr>
          <p:spPr>
            <a:xfrm>
              <a:off x="2907475" y="2141104"/>
              <a:ext cx="1828800" cy="369332"/>
            </a:xfrm>
            <a:prstGeom prst="rect">
              <a:avLst/>
            </a:prstGeom>
            <a:noFill/>
            <a:ln w="5080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800" b="1" dirty="0" smtClean="0">
                  <a:solidFill>
                    <a:schemeClr val="bg2"/>
                  </a:solidFill>
                </a:rPr>
                <a:t>Amal Smith!</a:t>
              </a:r>
            </a:p>
          </p:txBody>
        </p:sp>
      </p:grpSp>
      <p:grpSp>
        <p:nvGrpSpPr>
          <p:cNvPr id="5" name="Group 86"/>
          <p:cNvGrpSpPr/>
          <p:nvPr/>
        </p:nvGrpSpPr>
        <p:grpSpPr>
          <a:xfrm>
            <a:off x="6367150" y="926275"/>
            <a:ext cx="3538850" cy="980405"/>
            <a:chOff x="2057400" y="1955770"/>
            <a:chExt cx="3538850" cy="980405"/>
          </a:xfrm>
        </p:grpSpPr>
        <p:sp>
          <p:nvSpPr>
            <p:cNvPr id="89" name="Curved Up Ribbon 88"/>
            <p:cNvSpPr/>
            <p:nvPr/>
          </p:nvSpPr>
          <p:spPr bwMode="auto">
            <a:xfrm>
              <a:off x="2057400" y="1955770"/>
              <a:ext cx="3538850" cy="980405"/>
            </a:xfrm>
            <a:prstGeom prst="ellipseRibbon2">
              <a:avLst/>
            </a:prstGeom>
            <a:solidFill>
              <a:srgbClr val="FFCC00"/>
            </a:solidFill>
            <a:ln w="25400" cap="flat" cmpd="sng" algn="ctr">
              <a:solidFill>
                <a:srgbClr val="FFFF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endParaRPr>
            </a:p>
          </p:txBody>
        </p:sp>
        <p:sp>
          <p:nvSpPr>
            <p:cNvPr id="95" name="TextBox 94"/>
            <p:cNvSpPr txBox="1"/>
            <p:nvPr/>
          </p:nvSpPr>
          <p:spPr>
            <a:xfrm>
              <a:off x="2907475" y="2144812"/>
              <a:ext cx="1828800" cy="369332"/>
            </a:xfrm>
            <a:prstGeom prst="rect">
              <a:avLst/>
            </a:prstGeom>
            <a:noFill/>
            <a:ln w="5080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800" b="1" dirty="0" smtClean="0">
                  <a:solidFill>
                    <a:schemeClr val="bg2"/>
                  </a:solidFill>
                </a:rPr>
                <a:t>UCRP Issuance!</a:t>
              </a:r>
            </a:p>
          </p:txBody>
        </p:sp>
      </p:grpSp>
      <p:grpSp>
        <p:nvGrpSpPr>
          <p:cNvPr id="6" name="Group 62"/>
          <p:cNvGrpSpPr/>
          <p:nvPr/>
        </p:nvGrpSpPr>
        <p:grpSpPr>
          <a:xfrm>
            <a:off x="381000" y="4648200"/>
            <a:ext cx="3538850" cy="980405"/>
            <a:chOff x="2057400" y="1955770"/>
            <a:chExt cx="3538850" cy="980405"/>
          </a:xfrm>
        </p:grpSpPr>
        <p:sp>
          <p:nvSpPr>
            <p:cNvPr id="56" name="Curved Up Ribbon 55"/>
            <p:cNvSpPr/>
            <p:nvPr/>
          </p:nvSpPr>
          <p:spPr bwMode="auto">
            <a:xfrm>
              <a:off x="2057400" y="1955770"/>
              <a:ext cx="3538850" cy="980405"/>
            </a:xfrm>
            <a:prstGeom prst="ellipseRibbon2">
              <a:avLst/>
            </a:prstGeom>
            <a:solidFill>
              <a:srgbClr val="FFCC00"/>
            </a:solidFill>
            <a:ln w="25400" cap="flat" cmpd="sng" algn="ctr">
              <a:solidFill>
                <a:srgbClr val="FFFF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endParaRPr>
            </a:p>
          </p:txBody>
        </p:sp>
        <p:sp>
          <p:nvSpPr>
            <p:cNvPr id="58" name="TextBox 57"/>
            <p:cNvSpPr txBox="1"/>
            <p:nvPr/>
          </p:nvSpPr>
          <p:spPr>
            <a:xfrm>
              <a:off x="2907475" y="2168394"/>
              <a:ext cx="1828800" cy="369332"/>
            </a:xfrm>
            <a:prstGeom prst="rect">
              <a:avLst/>
            </a:prstGeom>
            <a:noFill/>
            <a:ln w="5080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800" b="1" dirty="0" smtClean="0">
                  <a:solidFill>
                    <a:schemeClr val="bg2"/>
                  </a:solidFill>
                </a:rPr>
                <a:t>Connexxus!</a:t>
              </a:r>
            </a:p>
          </p:txBody>
        </p:sp>
      </p:grpSp>
      <p:sp>
        <p:nvSpPr>
          <p:cNvPr id="30" name="Oval 29"/>
          <p:cNvSpPr/>
          <p:nvPr/>
        </p:nvSpPr>
        <p:spPr bwMode="auto">
          <a:xfrm>
            <a:off x="3776350" y="381000"/>
            <a:ext cx="2286000" cy="2286000"/>
          </a:xfrm>
          <a:prstGeom prst="ellipse">
            <a:avLst/>
          </a:prstGeom>
          <a:solidFill>
            <a:schemeClr val="bg2">
              <a:lumMod val="60000"/>
              <a:lumOff val="40000"/>
            </a:schemeClr>
          </a:solidFill>
          <a:ln w="381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grpSp>
        <p:nvGrpSpPr>
          <p:cNvPr id="31" name="Group 101"/>
          <p:cNvGrpSpPr/>
          <p:nvPr/>
        </p:nvGrpSpPr>
        <p:grpSpPr>
          <a:xfrm>
            <a:off x="3166750" y="1066800"/>
            <a:ext cx="3538850" cy="980405"/>
            <a:chOff x="2057400" y="1955770"/>
            <a:chExt cx="3538850" cy="980405"/>
          </a:xfrm>
        </p:grpSpPr>
        <p:sp>
          <p:nvSpPr>
            <p:cNvPr id="32" name="Curved Up Ribbon 31"/>
            <p:cNvSpPr/>
            <p:nvPr/>
          </p:nvSpPr>
          <p:spPr bwMode="auto">
            <a:xfrm>
              <a:off x="2057400" y="1955770"/>
              <a:ext cx="3538850" cy="980405"/>
            </a:xfrm>
            <a:prstGeom prst="ellipseRibbon2">
              <a:avLst/>
            </a:prstGeom>
            <a:solidFill>
              <a:srgbClr val="FFFF00"/>
            </a:solidFill>
            <a:ln w="25400" cap="flat" cmpd="sng" algn="ctr">
              <a:solidFill>
                <a:srgbClr val="FFCC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endParaRPr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2907475" y="2141104"/>
              <a:ext cx="1828800" cy="369332"/>
            </a:xfrm>
            <a:prstGeom prst="rect">
              <a:avLst/>
            </a:prstGeom>
            <a:noFill/>
            <a:ln w="5080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800" b="1" dirty="0" smtClean="0">
                  <a:solidFill>
                    <a:schemeClr val="bg2"/>
                  </a:solidFill>
                </a:rPr>
                <a:t>Erike Young!</a:t>
              </a:r>
            </a:p>
          </p:txBody>
        </p:sp>
      </p:grpSp>
      <p:grpSp>
        <p:nvGrpSpPr>
          <p:cNvPr id="35" name="Group 80"/>
          <p:cNvGrpSpPr/>
          <p:nvPr/>
        </p:nvGrpSpPr>
        <p:grpSpPr>
          <a:xfrm>
            <a:off x="2590800" y="3311886"/>
            <a:ext cx="3538850" cy="980405"/>
            <a:chOff x="2057400" y="1955770"/>
            <a:chExt cx="3538850" cy="980405"/>
          </a:xfrm>
        </p:grpSpPr>
        <p:sp>
          <p:nvSpPr>
            <p:cNvPr id="36" name="Curved Up Ribbon 35"/>
            <p:cNvSpPr/>
            <p:nvPr/>
          </p:nvSpPr>
          <p:spPr bwMode="auto">
            <a:xfrm>
              <a:off x="2057400" y="1955770"/>
              <a:ext cx="3538850" cy="980405"/>
            </a:xfrm>
            <a:prstGeom prst="ellipseRibbon2">
              <a:avLst/>
            </a:prstGeom>
            <a:solidFill>
              <a:srgbClr val="FFFF00"/>
            </a:solidFill>
            <a:ln w="25400" cap="flat" cmpd="sng" algn="ctr">
              <a:solidFill>
                <a:srgbClr val="FFCC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endParaRPr>
            </a:p>
          </p:txBody>
        </p:sp>
        <p:sp>
          <p:nvSpPr>
            <p:cNvPr id="37" name="TextBox 36"/>
            <p:cNvSpPr txBox="1"/>
            <p:nvPr/>
          </p:nvSpPr>
          <p:spPr>
            <a:xfrm>
              <a:off x="2907475" y="2150119"/>
              <a:ext cx="1828800" cy="369332"/>
            </a:xfrm>
            <a:prstGeom prst="rect">
              <a:avLst/>
            </a:prstGeom>
            <a:noFill/>
            <a:ln w="5080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800" b="1" dirty="0" smtClean="0">
                  <a:solidFill>
                    <a:schemeClr val="bg2"/>
                  </a:solidFill>
                </a:rPr>
                <a:t>Alan Moloney!</a:t>
              </a:r>
            </a:p>
          </p:txBody>
        </p:sp>
      </p:grpSp>
      <p:sp>
        <p:nvSpPr>
          <p:cNvPr id="42" name="Oval 41"/>
          <p:cNvSpPr/>
          <p:nvPr/>
        </p:nvSpPr>
        <p:spPr bwMode="auto">
          <a:xfrm>
            <a:off x="5322125" y="3733800"/>
            <a:ext cx="2286000" cy="2286000"/>
          </a:xfrm>
          <a:prstGeom prst="ellipse">
            <a:avLst/>
          </a:prstGeom>
          <a:solidFill>
            <a:schemeClr val="bg2">
              <a:lumMod val="60000"/>
              <a:lumOff val="40000"/>
            </a:schemeClr>
          </a:solidFill>
          <a:ln w="381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grpSp>
        <p:nvGrpSpPr>
          <p:cNvPr id="43" name="Group 80"/>
          <p:cNvGrpSpPr/>
          <p:nvPr/>
        </p:nvGrpSpPr>
        <p:grpSpPr>
          <a:xfrm>
            <a:off x="4724400" y="4454886"/>
            <a:ext cx="3538850" cy="980405"/>
            <a:chOff x="2057400" y="1955770"/>
            <a:chExt cx="3538850" cy="980405"/>
          </a:xfrm>
        </p:grpSpPr>
        <p:sp>
          <p:nvSpPr>
            <p:cNvPr id="44" name="Curved Up Ribbon 43"/>
            <p:cNvSpPr/>
            <p:nvPr/>
          </p:nvSpPr>
          <p:spPr bwMode="auto">
            <a:xfrm>
              <a:off x="2057400" y="1955770"/>
              <a:ext cx="3538850" cy="980405"/>
            </a:xfrm>
            <a:prstGeom prst="ellipseRibbon2">
              <a:avLst/>
            </a:prstGeom>
            <a:solidFill>
              <a:srgbClr val="FFCC00"/>
            </a:solidFill>
            <a:ln w="25400" cap="flat" cmpd="sng" algn="ctr">
              <a:solidFill>
                <a:srgbClr val="FFFF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endParaRPr>
            </a:p>
          </p:txBody>
        </p:sp>
        <p:sp>
          <p:nvSpPr>
            <p:cNvPr id="45" name="TextBox 44"/>
            <p:cNvSpPr txBox="1"/>
            <p:nvPr/>
          </p:nvSpPr>
          <p:spPr>
            <a:xfrm>
              <a:off x="2907475" y="2150119"/>
              <a:ext cx="1828800" cy="369332"/>
            </a:xfrm>
            <a:prstGeom prst="rect">
              <a:avLst/>
            </a:prstGeom>
            <a:noFill/>
            <a:ln w="5080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800" b="1" dirty="0" smtClean="0">
                  <a:solidFill>
                    <a:schemeClr val="bg2"/>
                  </a:solidFill>
                </a:rPr>
                <a:t>MOP Loan Sale!</a:t>
              </a:r>
            </a:p>
          </p:txBody>
        </p:sp>
      </p:grpSp>
      <p:sp>
        <p:nvSpPr>
          <p:cNvPr id="46" name="Oval 45"/>
          <p:cNvSpPr/>
          <p:nvPr/>
        </p:nvSpPr>
        <p:spPr bwMode="auto">
          <a:xfrm>
            <a:off x="6793675" y="1969325"/>
            <a:ext cx="2286000" cy="2286000"/>
          </a:xfrm>
          <a:prstGeom prst="ellipse">
            <a:avLst/>
          </a:prstGeom>
          <a:solidFill>
            <a:schemeClr val="bg2">
              <a:lumMod val="60000"/>
              <a:lumOff val="40000"/>
            </a:schemeClr>
          </a:solidFill>
          <a:ln w="381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grpSp>
        <p:nvGrpSpPr>
          <p:cNvPr id="47" name="Group 86"/>
          <p:cNvGrpSpPr/>
          <p:nvPr/>
        </p:nvGrpSpPr>
        <p:grpSpPr>
          <a:xfrm>
            <a:off x="6172200" y="2667000"/>
            <a:ext cx="3538850" cy="980405"/>
            <a:chOff x="2057400" y="1955770"/>
            <a:chExt cx="3538850" cy="980405"/>
          </a:xfrm>
        </p:grpSpPr>
        <p:sp>
          <p:nvSpPr>
            <p:cNvPr id="48" name="Curved Up Ribbon 47"/>
            <p:cNvSpPr/>
            <p:nvPr/>
          </p:nvSpPr>
          <p:spPr bwMode="auto">
            <a:xfrm>
              <a:off x="2057400" y="1955770"/>
              <a:ext cx="3538850" cy="980405"/>
            </a:xfrm>
            <a:prstGeom prst="ellipseRibbon2">
              <a:avLst/>
            </a:prstGeom>
            <a:solidFill>
              <a:srgbClr val="FFFF00"/>
            </a:solidFill>
            <a:ln w="25400" cap="flat" cmpd="sng" algn="ctr">
              <a:solidFill>
                <a:srgbClr val="FFCC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endParaRPr>
            </a:p>
          </p:txBody>
        </p:sp>
        <p:sp>
          <p:nvSpPr>
            <p:cNvPr id="49" name="TextBox 48"/>
            <p:cNvSpPr txBox="1"/>
            <p:nvPr/>
          </p:nvSpPr>
          <p:spPr>
            <a:xfrm>
              <a:off x="2907475" y="2144812"/>
              <a:ext cx="1828800" cy="369332"/>
            </a:xfrm>
            <a:prstGeom prst="rect">
              <a:avLst/>
            </a:prstGeom>
            <a:noFill/>
            <a:ln w="5080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800" b="1" dirty="0" smtClean="0">
                  <a:solidFill>
                    <a:schemeClr val="bg2"/>
                  </a:solidFill>
                </a:rPr>
                <a:t>Jennifer Ha!</a:t>
              </a:r>
            </a:p>
          </p:txBody>
        </p:sp>
      </p:grpSp>
    </p:spTree>
    <p:custDataLst>
      <p:tags r:id="rId1"/>
    </p:custDataLst>
  </p:cSld>
  <p:clrMapOvr>
    <a:masterClrMapping/>
  </p:clrMapOvr>
  <p:transition xmlns:p14="http://schemas.microsoft.com/office/powerpoint/2010/main">
    <p:cut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Rectangle 2"/>
          <p:cNvSpPr>
            <a:spLocks noGrp="1" noChangeArrowheads="1"/>
          </p:cNvSpPr>
          <p:nvPr>
            <p:ph type="title"/>
          </p:nvPr>
        </p:nvSpPr>
        <p:spPr>
          <a:xfrm>
            <a:off x="762000" y="838200"/>
            <a:ext cx="8153400" cy="304800"/>
          </a:xfrm>
        </p:spPr>
        <p:txBody>
          <a:bodyPr/>
          <a:lstStyle/>
          <a:p>
            <a:pPr lvl="1"/>
            <a:r>
              <a:rPr lang="en-US" sz="2300" dirty="0" smtClean="0"/>
              <a:t>Case Study C:  Part 3 – General Lesson (in detail)</a:t>
            </a:r>
          </a:p>
        </p:txBody>
      </p:sp>
      <p:sp>
        <p:nvSpPr>
          <p:cNvPr id="93188" name="AutoShape 4" descr="data:image/jpg;base64,/9j/4AAQSkZJRgABAQAAAQABAAD/2wCEAAkGBhQSDhQQEA8QEBQUEBkQFA4QFhEQFBAQFBwWFRUQFRQYHycqFxkjGRUTHy8iIycsLCwsFR4xQTIqNSYrLSkBCQoKBQUFDQUFDSkYEhgpKSkpKSkpKSkpKSkpKSkpKSkpKSkpKSkpKSkpKSkpKSkpKSkpKSkpKSkpKSkpKSkpKf/AABEIAMwA9wMBIgACEQEDEQH/xAAbAAACAwEBAQAAAAAAAAAAAAAABAMFBgECB//EAEkQAAIBAQMEDQkIAQMDBQEAAAECAwAEERIFEyFTBhQVIzEzUVJzkZKT0iIyQVRxsbLR0wc0QmFiY3Kis0OBoSR0dRY1NsHCCP/EABQBAQAAAAAAAAAAAAAAAAAAAAD/xAAUEQEAAAAAAAAAAAAAAAAAAAAA/9oADAMBAAIRAxEAPwD7PLaXzhRERrkViWcp5xYXABTzf+a5nJtXF3j/AE67H94foo/ilpqgUzk2ri7x/p0ZybVxd4/06booFM5Nq4u8f6dGcm1cXeP9Om6KBTOTauLvH+nRnJtXF3j/AE6booFM5Nq4u8f6dGcm1cXeP9Om6KBTOTauLvH+nRnJtXF3j/TrL5O+0FpctS5KNjwtCpkefPBlzVyFXC4LyTnI9HovOnRV3YNl1kmWV4bVFKsK4pShLZpdOluTzT1Ggdzk2ri7x/p0ZybVxd4/06rZNnNhWBLQ1tgELsUSYtcjuvnKG4CR/wDR5KnynssslnEZtFqihEq4o84cOcGjzb+HhGj86BvOTauLvH+nRnJtXF3j/TqOfL0CWiOzPMizSrijhN+J106VHpHknqqHZRsijsNjltc2IpGAcK6WdmIVUH5liBQNZybVxd4/06M5Nq4u8f6dYXYr9sAtNshslpsEtia0xCazu7iRZkYMVbzVuDBWuOm8i6qu1f8A9ARLLI0eT55bLHMIXtiuo8psWErGRpvCORew0D0UH07OTauLvH+nRnJtXF3j/TrH7LPtjsNiiVlfbUsiJIlniNzZuRQ6u7Eb2CjAgHSbxo9Ij2WfbNZLEqLcbROwUtZYmF8IYBt8e64EXjRw/kKDaZybVxd4/wBOjOTauLvH+nTQNdoFM5Nq4u8f6dGcm1cXeP8ATpuigUzk2ri7x/p0ZybVxd4/06booFM5Nq4u8f6dGcm1cXeP9Om6KBTOTauLvH+nRnJtXF3j/TpuigWs1oYuyOiqQqterFwQxYelRd5v/NFcj+8P0UfxS0UBH94foo/ilpqlY/vD9FH8UtNUBRRRQFFFFAUUUUBRRRQfJtjv/wA5yh/2Q+Gx1P8AZMdGWf8AyU3/AOqNhViefZPlDKcattUxbWSZlZBLKogVgmIDEAYXvI/Llq+H2evFPa3sVuazJbWMk0LRJNhka/FJC5YYCcR4Qw6hQfNNkf8A8Lyb/wB2nvtNfTPtY2ObcyTMqm6WAbbhN9xDxXkge1cS+0jkrxsk+zGO05Ns+TYp2s8NnZXBwCV3KBlUkkgaS7k6NJPopj/0VO00882UM7JLYmsKnMIiQxu2JmCB/KY/meTkuoEfs0tj5QUZXnW5mgWxwryLHcbTLcDozk4YfxiWtXsgyLBarM0FrQPCbnZWZox5BxAllIIAIv4fRSOwfYtudYlsYmz6ozFHKCMgOS5U3E3+UW06OGvOz/ItoteTZrLZJEiklATHIWVc2SM4pKgnSt44PTQfKNg9lGU9kBtkCFLFk6IQ2cHEd7jVo7OgLabz5chvvI4Dw18/yd/7Ba//ACFl+C019m+znYRlbJ7xwSTZP2mHd5o4gxlkLKbjiMYvN+AcPAt1Ze0fYdlBBNYoJrIbJLaUnz0hkEqiISKgKheG6Q3gX3kDSNNAl9p2S4l2O5JtCwxrK8MKvMqqHdRZxcGYC9rsK3X8F1TfbrkyJLPk2ZIY0kkRs5KiqrS3JBdjYDyrrzw8tbn7QvsymteS7HYbJJENq4VxTlkxIkebB8lW0nQaj+077NrTlGz2KKzvZ1azKwcys6gkrGow4UN+lDw3eig+lrwV2uCu0BRRRQFFFFAUUUUBRRRQKx/eH6KP4paKI/vD9FH8UtFBE8xW0PdG771HpUxi7ypecwqXbjery9cHjoRv+ofoo/ilpLZRY89Y5IlMt7YQDCY8YuZTiukIV1F17KfOUMum+6gd22/q8vXB46NuN6vL1weOvncOxm1XPnLLGpkzUxWJohEjR2aeJogpbyTnGW4C8DH51wJGm2FZJls2ejm0qrJFBKSpaSzIt8eO4+egbNknhzd/poL7bjery9cHjo243q8vXB46ZxjlFUmzHJW2rC9mUm+Ro1xIQGjGcQmUEkaVALcuigstuN6vL1weOjbjery9cHjr53FsZtmcd7TDtgSSvJLEjxYZJpbJCiugZh5CTCdBfcRjVrvSHtj2xy1w2yB5TnUJU2h2dTdaYbKIBaUBN5Ehd1bRffGhu0mg223G9Xl64PHRtxvV5euDx0xjHKK7jHKKBbbbery9cHjo22/q8vXB46zuXtjQmyhFKIUZTZ5xLKSuic7W2uTeb9Gae64XDTzjfl//AEraTHZcVlJzUMEMqE2aQsYbLaonNzOAymWWIAk+jFoABoPpW3G9Xl64PHRtxvV5euDx1NEwwjgGgaL77vyvr3jHKKBbbjery9cHjo22/q8vXB46yez3Y5NaZFay6C9knsssiuEZL83PAwvIv32HBo9ExqqtOxm0GYytZsRlsV7qu12CWyV7TK6B2cFcBmj8pb8QQLwUH0Hbjery9cHjo243q8vXB46zmwTJMsAkzq5lGis6LAWVrpo4gs81ykhcTYRoOnNk+nTrMY5RQLbcb1eXrg8dG239Xl64PHXu1QJIhjkCurC5kPAw5DyivmE2wu07TjWODNynJ1viluaC9rRNm1gQnHdeVQjEOD0kUH0zbjery9cHjo243q8vXB46yWxzIU0dsxPFgRbRaZw+KMqUnWEIoAN+IYXBF1wwfmL9tjHKKBbbjery9cHjo22/q8vXB46YxjlFfPdkWxSeaXKEixK2cezmAERFnwizrI6uXGFQElBQ3Yr7+Sg3W3G9Xl64PHRtxvV5euDx1kth+RZ4bYzzxYFFmkhxhozGzm1TyjNqGJSMxyIVU+aLlvJWtrjHKKBfbjery9cHjo243q8vXB46ZxjlFZjZ3k2SeFBAhkdHMixnNtDI2BkzVoVmXyGDsMS6UNzeigvttt6vL1weOjbjery9cHjr59lLY5aZXtDtZseeezWlAXibMyJaFE0VzPdi2qkIJGgiMjhYg/RbNCkaLGgCqihFUcCqouAH+1AvZZS08l6Mm9x6GwG/TLzWNFSRH/qH6KP4paKCM2ZGtD40Rroo/OUNd5UvLU250Wpj7C/KvMf3h+ij+KWmqBfc6LUx9hflRudFqY+wvypiigrrZk+O+Peo+NH4F5G/KmdzotTH2F+Vebbwx9KPc1NUC+50Wpj7C/Kjc6LUx9hflTFFAq+TorjvMXBzF+VQ2DJ8eZj3qPi1/AvIPyp5+A+yocn8TH0a+4UBudFqY+wvyo3Oi1MfYX5UxRQL7nRamPsL8qVsmT48cu9R8aPwLq4vyqypSx+fN0o/xxUHvc6LUx9hflRudFqY+wvypiigX3Oi1MfYX5UtJk+PPoM1H5j/AIF5Y/yqxpWXj4/4P746D1udFqY+wvyo3Oi1MfYX5UxRQL7nRamPsL8qWyjk+MQvvUfBzF+VWNK5T4l/ZQLSmBbQlnMK45EaRd6GHCmENe911/lDRw03udFqY+wvypa15NdrXDOsiKsSupjKMzPnMN5DhgFuwj8J9NWNAvudFqY+wvyrm50Wpj7C/KmaKCpgssawu+11kIkluREjLNdI9yi+4dZAr3kzMzxCRYFXynQo6IGSSNmjdDdeLwysLwSDdoJFdzLvZpEhlEMjPKFlK5zAxkfysN4vu9tS5GsBhgWIlDhvF8augN5JvON3JY33lixJJJ9NBLudFqY+wvyo3Oi1MfYX5UxRQJWaBVncIqrvUfmgLfpl5KK9x/eH6KP4paKAj+8P0UfxS01Ve9mDWhyS4uiTzXkT8UvoUi+oMmzQzhs29ovRgrJI1rhdSQGF6SEG4ggg3XUFvRSu5y86XvZ/FRucvOl72fxUBbeGPpR7mpqqy2ZPW+PypeNA42fkb9Vcvhz+1s7Jnc0Zs3nbReIwQuI+Vo0kDTw6eQ0FpRSu5y86XvZ/FRucvOl72fxUDD8B9lQ5P4mPo19wrw+TluPlS8Gtn8VVrSwwwQmRrR5YVFWM2yZmbAXICR4j5qseD0UF7RSi5PUi/FN/vLOP+MVd3OXnS97P4qBqlLH583Sj/HFXdzl50vez+KkM1HGJ5JJJFRJLyxln0DNxcjaT/wA0FzRSFmsySIHU2gAi8B3tUTf7o5BH+4qXc5edL3s/ioGqVl4+P+D++Ojc5edL3s/ipaTJ655Bil8x/wDVn5Y/1UFnRVPHaIWtG18VqElzMA+3UVlQqGZZGuVgC68BPnCntzl50vez+KgapXKfEv7KNzl50vez+Klso5PUQucUvBrZ/FQWdFU9qtMEcqxPLMHbDoD2pgucYpHjcG5MTgquIi8i4U9ucvOl72fxUDVcpbc5edL3s/io3OXnS97P4qAyd5h6WX/I9NVTJHFFA8skkqqskhLZ2c6BI40ANeSdAuGkk1PYFimjzkbzFbyumS0oyspKsrKzAqQQRcRQWVFK7nLzpe9n8VG5y86XvZ/FQEf3h+ij+KWio7LAFnkALHe4/OZ39MvOJurtB6Xj5LuHNJdfy3y0lkDJskbTySiNDNKJc1E7zKpwqrNnHVSSSOC64AC7009H94foo/ilpqgKKKKBW28MfSj3NVbZ9jWC37aWWQqyTY43IN8kpgII8m/CFhu0nRhQDQKsrbwx9KPc1NUBRRRQeX4D7KoMsZJe0WKJI0jZwgKSSSSwmBzGUEyNGpJYYjovF950ir9+A+yocn8TH0a+4UEsSkKATiIABY6MRHpr3RRQFUeVcmG0Q2iJSt+fjkAYsqsYhZ5QjFdIDYMJI0gG/TV5Slj8+bpR/jioIcgWB4bOI5CCcbsFVmdY0d2dIVZgCyopCgkDzeADQLGiigKVl4+P+D++OmqVl4+P+D++OghsuTmFpltEhUllWKIC/e4VGI33/iaRmJu9Cx8lWFFFAUrlPiX9lNUrlPiX9lBTZY2OSS22O0KUAXM3MWdWjzUrSSDNgXTB1KqMZGAriGmtHRRQFFFFBVS2ITWWWIqHxPLcpZovLEjlTnFBKEMAcQBIuvr1seyU0EJV2xO8rzOcTP5TknDiYAtcMIvuF919w4Azk7zD0sv+R6aoCiiigVj+8P0UfxS0UR/eH6KP4paKCJoS1oe6R03qPQojN/lS85TUu1G18vVD4KE49+ij+KWsFbYGay3CK1OBugIQ8dqZ1tkkoexS+WMQOAvhkOhb+EGg3u1G18vVD4KNqNr5eqHwUyvBprtBWWyytfHv8vGj0Q8jfopnaja+Xqh8FFt4Y+lHuaqdyBb7ViFpwtYogWUWrDiUzYhEyi4NhePRGcRJ5RQXG1G18vVD4KNqNr5eqHwUpsVJ3PswYOrCzRqyyK6OHVQrBlYAg3g8NWtAo9ka47/LwckPgqGwWVszHv8ALxa+iHkH6KffgPsrPZe+4QECYkTWV7oRM5uWSJnLLECSuAOSCLtHsoLnaja+Xqh8FG1G18vVD4KpMlopynM6QyQ4Y2jYmKZBanLIzTNIVwsFuCppJ8qT8N1+loFdqNr5eqHwUrZLK2Obf5eNHoh1cX6KtKrZLsFpxY7sRvzecx3ZqPzc35V/8dNAxtRtfL1Q+Cjaja+Xqh8FZGzw4hkwiGXPpHCJC0FoSQRqjKwM7ACNVbGWQ6X8kaL1v3FArtRtfL1Q+ClpLK2fTf5fMf0Q8sf6Ks6Vl4+P+D++OgNqNr5eqHwUbUbXy9UPgrP2mKZrZa0s+cUvHZ/LlNpjjuUy55YZSrBWwsnmaAWvuvvqz2IxOuTrMsqlHWzorIS5KkKBccQBvuuvvHDfw8NA7tRtfL1Q+Clso2Vsy+/y8HJD4Ks6VynxL+ygNqNr5eqHwUbUbXy9UPgqpyyP+vg4+42edGZFndFxBMN4UFQ2hrr9Po9NR7BYM3Z3jCAIkgRJhDJZWtCiOO+V45NOLFiUn04KC62o2vl6ofBRtRtfL1Q+CmqKCssFlbAd/l42T0Q6x/0UztRtfL1Q+CoobsxJixXY5r8GPFdjkvw4PKvu4MOnk01jbAJg1gYxO+CyWSNY54J2Ky42jtjlzdmZEQI2JxewW4X3m8NvtRtfL1Q+Cjaja+Xqh8FNUUCNliKzyXuz73HpbALtMvNArte4/vD9FH8UtFAR/eH6KP4paapBse2HwYOKjvxYudLyVLv37X96Bqild+/a/vRv37X96AtvDH0o9zU1VbbM7fHxXGjn8jUxv37X96Bqild+/a/vRv37X96Bh+A+yocn8TH0a+4V4fO3HiuD9dQ2DO5mPiuLXn8goLGild+/a/vRv37X96BqlLH583Sj/HFXd+/a/vS1kzuObiuNHP1cVBZ0Urvv7X96N+/a/vQNUrLx8f8AB/fHRv37X96XlzufTivMfn8sdBZUUrv37X96N+/a/vQNUrlPiX9lG/ftf3pfKOdzL8VwfroLKild+/a/vRv37X96Bqild+/a/vRv37X96Ayf5h6WX/I9NVWZPzuA8VxsnP1j0zvv7X96Bqild+/a/vRv37X96Aj+8P0UfxS0VHZcWfkx4eKjuw38svLXaD2nHv0UfxS1lpbbJJY2C2yQzm3TWWF4jEuJzI6pjUKb1jjUuRw4YzWpj+8P0UfxS1LFZEXzY0XTi8lVGm66/R6btFB7QXAC8m4XXm68/mbq9UUUCtt4Y+lHuas3l/K8iS2tEtAF0FkMaEoubaaaSJ/KuJQMAgLkHBeGuN1x0lt4Y+lHuapGsaEsTGhLLhYlVJZToKk+kXAaPyoK3Ypa2ksitIzMwkljJYqxGblkQJjGh8IULi/Fhv8ATVxXmOMKoVQFAFwVQAABwAAcAr1QeX4D7KosrWxorHZ3WbNb/ZUYnB5cbyRI8flcF6s3Bp0VevwH2UrZbOrwRh0Vxm1NzAML8N19x9poKLI1un3RkhlZ2GCaRhigeNFEqLZcAQ4o74i4IcC9ozdfcTWpqOOBVLFVVSxxMVABZuC83cJqSgKqLbaESK0vLM0CBwWlQgMowQ6F0HSeAAC8k6NN1W9JWeIM0ysoYGUXqwBB3uLhBoMfZMrziWIPaWLA2YLBihfOx2iedJBIUG+OkKLeVNwaFjwE372oEsUYKlY4wUvCkKowBvOC6NF/puqegKVl4+P+D++OmqVl4+P+D++OgzNuykwktpgtrYYrNIWLtC4jtS3FViUjQEW9WvvF7qNLK12oyfNjhje8NijVsQuN5IGnRQbBHexzUd7C5jhW9hw3E3adIHVU0cYUBVAUDQFAAAHIAKD1SuU+Jf2U1SuU+Jf2UFRlu2XW2COO0sj3h5IS0YjFm8oM7qwvLMblW433reNCvXvYjazJHK4naeIzbw8jI7mLAl7EqB5LOJGW/ThYcAIAuJLIjMGaNGYcDMqkj06CeCuwWVEvCIiXm8hFC3nlN1BLRRRQVjzKllleSUwopmLTAgGNQ8l7gkG672Vm0yhIIrLIbW+I2tUzbSQs+1pZykayRBd8coVQ6QU0t5RU4tZYkBjYMAQZZQQdIIzj6CK9pk+JSpWKMFb8JCqCuLhwm7Rf+VAxRRRQKx/eH6KP4paKI/vD9FH8UtFBE0rC0PhjL71HpvUXeVLy1Ltl9Se0leWYCWQsbgIUJOkXC+a81hJbfM1ikksUkkkJnzoAtDPPCiiERxMzksodhJIy33gMF0XtcG92xJqD2ko2xJqD2kpkV2grbZaHvj3k8aPxJyNTG2X1J7SUW3hj6Ue5qymW7Sj2u0Rx202ZkszJK0k8qrnHERQpFjGBUQEl0w8Zwk47g1e2H1J7SUbYk1B7SUnsVtOOyI1x8+RQxklnEgV3USrJISzIwAYXngYXXi41bUCj2h7jvJ4OclQ2C0PmY95PFr+JOQU+/AfZWW2U2pFsESGVoZJFCQyiWSzrHKU46RlIBVBe2Fr7yAACSKDQ7Yk1J7SUbYk1B7SVnNjmUXa3zLI2cLGYkB5f+njilVYFaInCokiZXVgAThY+VebtbQK7Yk1B7SUtZLQ+ObeTxo/Emriqzqkynao44LU85cRhxizbPG58iEBVZSCCSQOEDTpIF9BY7ZfUntJRtiTUHtJWXyVAZGsaraJZGVTPLLFaJ5IhCjMI7OSGwynGwTEwJZYHv03VsqBXbEmoPaSl5LQ+fTeT5j/iTljqypWXj4/4P746A2y+pPaSjbEmpPaSsTlnKKma0Zi0sgWSOKVJJ5rjJn487IVxXwQKt8ZZbgc4dFygnVbFJmawws5ctg0s5LFriQGDHS6kAFWOkrcTpJoHNsSag9pKXyjaHzL7yeDnJVlSuU+Jf2UBth9Se0lG2H1J7SVQ7IrSu3YIY7QYJyMeJpXWPNnGqpmS2GV3fRdcSApN4IW/mwSWRklxPnIwyKkmee1q8gRc80czgYlLXcGgHFwG8AL/AGxJqD2ko2xJqD2kpqigrMn2h8B3k8bJ+JNY9M7ZfUntJS+NBZpDK5RMcuNwzR4Vzj3tjUgr7QRdWIsVukvjBnlJEsYsuGWZ0nvtjraMBJ3+MQZsXvfcl5Fw00G/2xJqD2ko2xJqD2kpqigRssjGeTEmDeo9F4N+mXkrte4/vD9FH8UtFAR/eH6KP4paapB7SFtD3hzfFH5qSP8Ail9Kg1LuivNl7qfw0DVFK7orzZe6n8NG6K82Xup/DQFt4Y+lHuamqrLZlBb4/Jl40Hip+Rv00zuivNl7qfw0DVFK7orzZe6n8NG6K82Xup/DQMPwH2VDk/iY+jX3CvD5RW4+TLwaqfw1DYMoLmY/Jl4tf9KfkH6aCxopXdFebL3U/ho3RXmy91P4aBqlLH583Sj/ABxV3dFebL3U/hpWyZQXHL5MvGj/AEp9XF+mgtKKV3RXmy91P4aN0V5svdT+GgapWXj4/wCD++OjdFebL3U/hpaTKC59Dhl8x/8ASn5Y/wBNBZ0UruivNl7qfw0borzZe6n8NA1SuU+Jf2UborzZe6n8NLZRygphcYZeDVT+Ggs6KV3RXmy91P4aN0V5svdT+GgaopXdFebL3U/ho3RXmy91P4aAyf5h6WX/ACPTVVtitoVSCso3yQ8VNwM7EHzeQimN0V5svdT+GgaopXdFebL3U/ho3RXmy91P4aAj+8P0UfxS0VHZZw08hAYb3H5yunpl5wF9doPace/RR++Ws2mVLQglRpsTRZQs0V80ceNrPO8KMRmiFAYu5U3EgC4i/SNIovncHSM0guPp0y0uuxuyiPNCyWfN487m82mHOAXB7rvOAAAPoAHJQWIrtFFArbeGPpR7mpqlbbwx9KPc1NUBRRRQeX4D7KhyfxMfRr7hUz8B9lQ5P4mPo19woGKKKKApSx+fN0o/xxU3Slj8+bpR/jioG6KKKApWXj4/4P746apWXj4/4P746BqiiigKVynxL+ymqVynxL+ygaoqqyjbLQryCOHEqwl0IXEWkANy3Y1v03DDovvvxClLLb7aSMdniUZ3Cbr783jhGIeVzHmOnV8A4CGgorPPly2AkDJZIBcBs/HpCC8NddwPwL+fDcNNRTZatocFbBemZDmMkFhKTpjx4gDcLuBeXhoNNRWbbLNtJI2jm1uUh8SzkG/SMAZMRuI9IAuJvPBXVy5bMRG5puvOEmVV0KwAv0HhGn/jTw0GjorO2fLdsJIbJ5QXMQ2NTdcGwrd+I4govvA0k8FxMliyra2mVZLEEjbCMQkDFD5RZjo0i7ALtGkNpN4oLSP7w/RR/FLRRH94foo/ilooIzaUW0PjdVvijuxELf5UvLU26MWuj7a/OpytcwDkFBDujFro+2vzo3Ri10fbX51NgHIKMA5BQIWy3x3x77HxoPnryN+dM7oxa6Ptr86nwDkFcwDkFBDujFro+2vzo3Ri10fbX51NgHIKMA5BQLvlCK477Hwc9fnUNgyhHmY99j4tfxLyD86ewDkFGAcgoId0YtdH21+dG6MWuj7a/OpsA5BRgHIKCHdGLXR9tfnStkt8eOXfY+NH4l1cX51YYByCu4ByCgg3Ri10fbX50boxa6Ptr86mwDkFGAcgoId0YtdH21+dLSW+PPoc7H5j/jXlT86fwDkFdwDkFBBujFro+2vzo3Ri10fbX51NgHIKMA5BQQ7oxa6Ptr86Wyjb4zC4EsfBz1+dP4ByCu4ByCgg3Ri1sfbX50boxa6Ptr86mwDkFGAcgoId0YtdH21+dG6MWtj7a/OpsA5BRgHIKCHdGLXR9tfnRujFrY+2vzqbAOQUYByCgh3Ri1sfbX50boxa6Ptr86mwDkFGAcgoFLNOrTuVZW3uPzSGu0y8lFOAUUH/2Q=="/>
          <p:cNvSpPr>
            <a:spLocks noChangeAspect="1" noChangeArrowheads="1"/>
          </p:cNvSpPr>
          <p:nvPr/>
        </p:nvSpPr>
        <p:spPr bwMode="auto">
          <a:xfrm>
            <a:off x="79375" y="-727075"/>
            <a:ext cx="1828800" cy="1504950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Oval 6"/>
          <p:cNvSpPr/>
          <p:nvPr/>
        </p:nvSpPr>
        <p:spPr bwMode="auto">
          <a:xfrm>
            <a:off x="8915400" y="152400"/>
            <a:ext cx="990600" cy="990600"/>
          </a:xfrm>
          <a:prstGeom prst="ellips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8867900" y="297875"/>
            <a:ext cx="106680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Capital Markets Finance</a:t>
            </a:r>
            <a:endParaRPr lang="en-US" dirty="0"/>
          </a:p>
        </p:txBody>
      </p:sp>
      <p:sp>
        <p:nvSpPr>
          <p:cNvPr id="12" name="Rectangle 11"/>
          <p:cNvSpPr>
            <a:spLocks noChangeArrowheads="1"/>
          </p:cNvSpPr>
          <p:nvPr/>
        </p:nvSpPr>
        <p:spPr bwMode="gray">
          <a:xfrm>
            <a:off x="990600" y="1447800"/>
            <a:ext cx="2895600" cy="5562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9" tIns="36571" rIns="36571" bIns="36571"/>
          <a:lstStyle/>
          <a:p>
            <a:pPr marL="458788" lvl="1" indent="-457200" defTabSz="1019175" eaLnBrk="0" hangingPunct="0">
              <a:buClr>
                <a:schemeClr val="folHlink"/>
              </a:buClr>
              <a:buSzPct val="125000"/>
              <a:buFont typeface="Wingdings" pitchFamily="2" charset="2"/>
              <a:buChar char="§"/>
            </a:pPr>
            <a:endParaRPr lang="en-US" sz="1600" b="1" dirty="0" smtClean="0">
              <a:solidFill>
                <a:schemeClr val="bg2"/>
              </a:solidFill>
            </a:endParaRPr>
          </a:p>
          <a:p>
            <a:pPr marL="463550" lvl="3" indent="-461963" defTabSz="1019175" eaLnBrk="0" hangingPunct="0">
              <a:buClr>
                <a:schemeClr val="folHlink"/>
              </a:buClr>
              <a:buSzPct val="125000"/>
              <a:buFont typeface="Wingdings" pitchFamily="2" charset="2"/>
              <a:buChar char="§"/>
            </a:pPr>
            <a:r>
              <a:rPr lang="en-US" sz="1600" u="sng" dirty="0" smtClean="0">
                <a:hlinkClick r:id="rId4"/>
              </a:rPr>
              <a:t>http://www.universityofcalifornia.edu/regents/meetings.html</a:t>
            </a:r>
            <a:endParaRPr lang="en-US" sz="1600" u="sng" dirty="0" smtClean="0"/>
          </a:p>
          <a:p>
            <a:pPr marL="1373188" lvl="3" indent="-457200" defTabSz="1019175" eaLnBrk="0" hangingPunct="0">
              <a:buClr>
                <a:schemeClr val="folHlink"/>
              </a:buClr>
              <a:buSzPct val="125000"/>
              <a:buFont typeface="Wingdings" pitchFamily="2" charset="2"/>
              <a:buChar char="§"/>
            </a:pPr>
            <a:endParaRPr lang="en-US" sz="1600" u="sng" dirty="0" smtClean="0"/>
          </a:p>
          <a:p>
            <a:pPr marL="463550" lvl="3" indent="-461963" defTabSz="1019175" eaLnBrk="0" hangingPunct="0">
              <a:buClr>
                <a:schemeClr val="folHlink"/>
              </a:buClr>
              <a:buSzPct val="125000"/>
              <a:buFont typeface="Wingdings" pitchFamily="2" charset="2"/>
              <a:buChar char="§"/>
            </a:pPr>
            <a:r>
              <a:rPr lang="en-US" sz="1600" b="1" dirty="0" smtClean="0">
                <a:solidFill>
                  <a:schemeClr val="accent1"/>
                </a:solidFill>
                <a:sym typeface="Wingdings" pitchFamily="2" charset="2"/>
              </a:rPr>
              <a:t>The Regents’ website always contains a detailed schedule of meetings</a:t>
            </a:r>
          </a:p>
        </p:txBody>
      </p:sp>
      <p:pic>
        <p:nvPicPr>
          <p:cNvPr id="14" name="Picture 13"/>
          <p:cNvPicPr/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67200" y="1371600"/>
            <a:ext cx="4743718" cy="5943600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</p:pic>
    </p:spTree>
    <p:custDataLst>
      <p:tags r:id="rId1"/>
    </p:custDataLst>
  </p:cSld>
  <p:clrMapOvr>
    <a:masterClrMapping/>
  </p:clrMapOvr>
  <p:transition xmlns:p14="http://schemas.microsoft.com/office/powerpoint/2010/main">
    <p:cut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Rectangle 2"/>
          <p:cNvSpPr>
            <a:spLocks noGrp="1" noChangeArrowheads="1"/>
          </p:cNvSpPr>
          <p:nvPr>
            <p:ph type="title"/>
          </p:nvPr>
        </p:nvSpPr>
        <p:spPr>
          <a:xfrm>
            <a:off x="762000" y="838200"/>
            <a:ext cx="8153400" cy="304800"/>
          </a:xfrm>
        </p:spPr>
        <p:txBody>
          <a:bodyPr/>
          <a:lstStyle/>
          <a:p>
            <a:pPr lvl="1"/>
            <a:r>
              <a:rPr lang="en-US" sz="2300" dirty="0" smtClean="0"/>
              <a:t>Case Study C:  Part 3 – Technical Lesson (in detail)</a:t>
            </a:r>
          </a:p>
        </p:txBody>
      </p:sp>
      <p:sp>
        <p:nvSpPr>
          <p:cNvPr id="93188" name="AutoShape 4" descr="data:image/jpg;base64,/9j/4AAQSkZJRgABAQAAAQABAAD/2wCEAAkGBhQSDhQQEA8QEBQUEBkQFA4QFhEQFBAQFBwWFRUQFRQYHycqFxkjGRUTHy8iIycsLCwsFR4xQTIqNSYrLSkBCQoKBQUFDQUFDSkYEhgpKSkpKSkpKSkpKSkpKSkpKSkpKSkpKSkpKSkpKSkpKSkpKSkpKSkpKSkpKSkpKSkpKf/AABEIAMwA9wMBIgACEQEDEQH/xAAbAAACAwEBAQAAAAAAAAAAAAAABAMFBgECB//EAEkQAAIBAQMEDQkIAQMDBQEAAAECAwAEERIFEyFTBhQVIzEzUVJzkZKT0iIyQVRxsbLR0wc0QmFiY3Kis0OBoSR0dRY1NsHCCP/EABQBAQAAAAAAAAAAAAAAAAAAAAD/xAAUEQEAAAAAAAAAAAAAAAAAAAAA/9oADAMBAAIRAxEAPwD7PLaXzhRERrkViWcp5xYXABTzf+a5nJtXF3j/AE67H94foo/ilpqgUzk2ri7x/p0ZybVxd4/06booFM5Nq4u8f6dGcm1cXeP9Om6KBTOTauLvH+nRnJtXF3j/AE6booFM5Nq4u8f6dGcm1cXeP9Om6KBTOTauLvH+nRnJtXF3j/TrL5O+0FpctS5KNjwtCpkefPBlzVyFXC4LyTnI9HovOnRV3YNl1kmWV4bVFKsK4pShLZpdOluTzT1Ggdzk2ri7x/p0ZybVxd4/06rZNnNhWBLQ1tgELsUSYtcjuvnKG4CR/wDR5KnynssslnEZtFqihEq4o84cOcGjzb+HhGj86BvOTauLvH+nRnJtXF3j/TqOfL0CWiOzPMizSrijhN+J106VHpHknqqHZRsijsNjltc2IpGAcK6WdmIVUH5liBQNZybVxd4/06M5Nq4u8f6dYXYr9sAtNshslpsEtia0xCazu7iRZkYMVbzVuDBWuOm8i6qu1f8A9ARLLI0eT55bLHMIXtiuo8psWErGRpvCORew0D0UH07OTauLvH+nRnJtXF3j/TrH7LPtjsNiiVlfbUsiJIlniNzZuRQ6u7Eb2CjAgHSbxo9Ij2WfbNZLEqLcbROwUtZYmF8IYBt8e64EXjRw/kKDaZybVxd4/wBOjOTauLvH+nTQNdoFM5Nq4u8f6dGcm1cXeP8ATpuigUzk2ri7x/p0ZybVxd4/06booFM5Nq4u8f6dGcm1cXeP9Om6KBTOTauLvH+nRnJtXF3j/TpuigWs1oYuyOiqQqterFwQxYelRd5v/NFcj+8P0UfxS0UBH94foo/ilpqlY/vD9FH8UtNUBRRRQFFFFAUUUUBRRRQfJtjv/wA5yh/2Q+Gx1P8AZMdGWf8AyU3/AOqNhViefZPlDKcattUxbWSZlZBLKogVgmIDEAYXvI/Llq+H2evFPa3sVuazJbWMk0LRJNhka/FJC5YYCcR4Qw6hQfNNkf8A8Lyb/wB2nvtNfTPtY2ObcyTMqm6WAbbhN9xDxXkge1cS+0jkrxsk+zGO05Ns+TYp2s8NnZXBwCV3KBlUkkgaS7k6NJPopj/0VO00882UM7JLYmsKnMIiQxu2JmCB/KY/meTkuoEfs0tj5QUZXnW5mgWxwryLHcbTLcDozk4YfxiWtXsgyLBarM0FrQPCbnZWZox5BxAllIIAIv4fRSOwfYtudYlsYmz6ozFHKCMgOS5U3E3+UW06OGvOz/ItoteTZrLZJEiklATHIWVc2SM4pKgnSt44PTQfKNg9lGU9kBtkCFLFk6IQ2cHEd7jVo7OgLabz5chvvI4Dw18/yd/7Ba//ACFl+C019m+znYRlbJ7xwSTZP2mHd5o4gxlkLKbjiMYvN+AcPAt1Ze0fYdlBBNYoJrIbJLaUnz0hkEqiISKgKheG6Q3gX3kDSNNAl9p2S4l2O5JtCwxrK8MKvMqqHdRZxcGYC9rsK3X8F1TfbrkyJLPk2ZIY0kkRs5KiqrS3JBdjYDyrrzw8tbn7QvsymteS7HYbJJENq4VxTlkxIkebB8lW0nQaj+077NrTlGz2KKzvZ1azKwcys6gkrGow4UN+lDw3eig+lrwV2uCu0BRRRQFFFFAUUUUBRRRQKx/eH6KP4paKI/vD9FH8UtFBE8xW0PdG771HpUxi7ypecwqXbjery9cHjoRv+ofoo/ilpLZRY89Y5IlMt7YQDCY8YuZTiukIV1F17KfOUMum+6gd22/q8vXB46NuN6vL1weOvncOxm1XPnLLGpkzUxWJohEjR2aeJogpbyTnGW4C8DH51wJGm2FZJls2ejm0qrJFBKSpaSzIt8eO4+egbNknhzd/poL7bjery9cHjo243q8vXB46ZxjlFUmzHJW2rC9mUm+Ro1xIQGjGcQmUEkaVALcuigstuN6vL1weOjbjery9cHjr53FsZtmcd7TDtgSSvJLEjxYZJpbJCiugZh5CTCdBfcRjVrvSHtj2xy1w2yB5TnUJU2h2dTdaYbKIBaUBN5Ehd1bRffGhu0mg223G9Xl64PHRtxvV5euDx0xjHKK7jHKKBbbbery9cHjo22/q8vXB46zuXtjQmyhFKIUZTZ5xLKSuic7W2uTeb9Gae64XDTzjfl//AEraTHZcVlJzUMEMqE2aQsYbLaonNzOAymWWIAk+jFoABoPpW3G9Xl64PHRtxvV5euDx1NEwwjgGgaL77vyvr3jHKKBbbjery9cHjo22/q8vXB46yez3Y5NaZFay6C9knsssiuEZL83PAwvIv32HBo9ExqqtOxm0GYytZsRlsV7qu12CWyV7TK6B2cFcBmj8pb8QQLwUH0Hbjery9cHjo243q8vXB46zmwTJMsAkzq5lGis6LAWVrpo4gs81ykhcTYRoOnNk+nTrMY5RQLbcb1eXrg8dG239Xl64PHXu1QJIhjkCurC5kPAw5DyivmE2wu07TjWODNynJ1viluaC9rRNm1gQnHdeVQjEOD0kUH0zbjery9cHjo243q8vXB46yWxzIU0dsxPFgRbRaZw+KMqUnWEIoAN+IYXBF1wwfmL9tjHKKBbbjery9cHjo22/q8vXB46YxjlFfPdkWxSeaXKEixK2cezmAERFnwizrI6uXGFQElBQ3Yr7+Sg3W3G9Xl64PHRtxvV5euDx1kth+RZ4bYzzxYFFmkhxhozGzm1TyjNqGJSMxyIVU+aLlvJWtrjHKKBfbjery9cHjo243q8vXB46ZxjlFZjZ3k2SeFBAhkdHMixnNtDI2BkzVoVmXyGDsMS6UNzeigvttt6vL1weOjbjery9cHjr59lLY5aZXtDtZseeezWlAXibMyJaFE0VzPdi2qkIJGgiMjhYg/RbNCkaLGgCqihFUcCqouAH+1AvZZS08l6Mm9x6GwG/TLzWNFSRH/qH6KP4paKCM2ZGtD40Rroo/OUNd5UvLU250Wpj7C/KvMf3h+ij+KWmqBfc6LUx9hflRudFqY+wvypiigrrZk+O+Peo+NH4F5G/KmdzotTH2F+Vebbwx9KPc1NUC+50Wpj7C/Kjc6LUx9hflTFFAq+TorjvMXBzF+VQ2DJ8eZj3qPi1/AvIPyp5+A+yocn8TH0a+4UBudFqY+wvyo3Oi1MfYX5UxRQL7nRamPsL8qVsmT48cu9R8aPwLq4vyqypSx+fN0o/xxUHvc6LUx9hflRudFqY+wvypiigX3Oi1MfYX5UtJk+PPoM1H5j/AIF5Y/yqxpWXj4/4P746D1udFqY+wvyo3Oi1MfYX5UxRQL7nRamPsL8qWyjk+MQvvUfBzF+VWNK5T4l/ZQLSmBbQlnMK45EaRd6GHCmENe911/lDRw03udFqY+wvypa15NdrXDOsiKsSupjKMzPnMN5DhgFuwj8J9NWNAvudFqY+wvyrm50Wpj7C/KmaKCpgssawu+11kIkluREjLNdI9yi+4dZAr3kzMzxCRYFXynQo6IGSSNmjdDdeLwysLwSDdoJFdzLvZpEhlEMjPKFlK5zAxkfysN4vu9tS5GsBhgWIlDhvF8augN5JvON3JY33lixJJJ9NBLudFqY+wvyo3Oi1MfYX5UxRQJWaBVncIqrvUfmgLfpl5KK9x/eH6KP4paKAj+8P0UfxS01Ve9mDWhyS4uiTzXkT8UvoUi+oMmzQzhs29ovRgrJI1rhdSQGF6SEG4ggg3XUFvRSu5y86XvZ/FRucvOl72fxUBbeGPpR7mpqqy2ZPW+PypeNA42fkb9Vcvhz+1s7Jnc0Zs3nbReIwQuI+Vo0kDTw6eQ0FpRSu5y86XvZ/FRucvOl72fxUDD8B9lQ5P4mPo19wrw+TluPlS8Gtn8VVrSwwwQmRrR5YVFWM2yZmbAXICR4j5qseD0UF7RSi5PUi/FN/vLOP+MVd3OXnS97P4qBqlLH583Sj/HFXdzl50vez+KkM1HGJ5JJJFRJLyxln0DNxcjaT/wA0FzRSFmsySIHU2gAi8B3tUTf7o5BH+4qXc5edL3s/ioGqVl4+P+D++Ojc5edL3s/ipaTJ655Bil8x/wDVn5Y/1UFnRVPHaIWtG18VqElzMA+3UVlQqGZZGuVgC68BPnCntzl50vez+KgapXKfEv7KNzl50vez+Klso5PUQucUvBrZ/FQWdFU9qtMEcqxPLMHbDoD2pgucYpHjcG5MTgquIi8i4U9ucvOl72fxUDVcpbc5edL3s/io3OXnS97P4qAyd5h6WX/I9NVTJHFFA8skkqqskhLZ2c6BI40ANeSdAuGkk1PYFimjzkbzFbyumS0oyspKsrKzAqQQRcRQWVFK7nLzpe9n8VG5y86XvZ/FQEf3h+ij+KWio7LAFnkALHe4/OZ39MvOJurtB6Xj5LuHNJdfy3y0lkDJskbTySiNDNKJc1E7zKpwqrNnHVSSSOC64AC7009H94foo/ilpqgKKKKBW28MfSj3NVbZ9jWC37aWWQqyTY43IN8kpgII8m/CFhu0nRhQDQKsrbwx9KPc1NUBRRRQeX4D7KoMsZJe0WKJI0jZwgKSSSSwmBzGUEyNGpJYYjovF950ir9+A+yocn8TH0a+4UEsSkKATiIABY6MRHpr3RRQFUeVcmG0Q2iJSt+fjkAYsqsYhZ5QjFdIDYMJI0gG/TV5Slj8+bpR/jioIcgWB4bOI5CCcbsFVmdY0d2dIVZgCyopCgkDzeADQLGiigKVl4+P+D++OmqVl4+P+D++OghsuTmFpltEhUllWKIC/e4VGI33/iaRmJu9Cx8lWFFFAUrlPiX9lNUrlPiX9lBTZY2OSS22O0KUAXM3MWdWjzUrSSDNgXTB1KqMZGAriGmtHRRQFFFFBVS2ITWWWIqHxPLcpZovLEjlTnFBKEMAcQBIuvr1seyU0EJV2xO8rzOcTP5TknDiYAtcMIvuF919w4Azk7zD0sv+R6aoCiiigVj+8P0UfxS0UR/eH6KP4paKCJoS1oe6R03qPQojN/lS85TUu1G18vVD4KE49+ij+KWsFbYGay3CK1OBugIQ8dqZ1tkkoexS+WMQOAvhkOhb+EGg3u1G18vVD4KNqNr5eqHwUyvBprtBWWyytfHv8vGj0Q8jfopnaja+Xqh8FFt4Y+lHuaqdyBb7ViFpwtYogWUWrDiUzYhEyi4NhePRGcRJ5RQXG1G18vVD4KNqNr5eqHwUpsVJ3PswYOrCzRqyyK6OHVQrBlYAg3g8NWtAo9ka47/LwckPgqGwWVszHv8ALxa+iHkH6KffgPsrPZe+4QECYkTWV7oRM5uWSJnLLECSuAOSCLtHsoLnaja+Xqh8FG1G18vVD4KpMlopynM6QyQ4Y2jYmKZBanLIzTNIVwsFuCppJ8qT8N1+loFdqNr5eqHwUrZLK2Obf5eNHoh1cX6KtKrZLsFpxY7sRvzecx3ZqPzc35V/8dNAxtRtfL1Q+Cjaja+Xqh8FZGzw4hkwiGXPpHCJC0FoSQRqjKwM7ACNVbGWQ6X8kaL1v3FArtRtfL1Q+ClpLK2fTf5fMf0Q8sf6Ks6Vl4+P+D++OgNqNr5eqHwUbUbXy9UPgrP2mKZrZa0s+cUvHZ/LlNpjjuUy55YZSrBWwsnmaAWvuvvqz2IxOuTrMsqlHWzorIS5KkKBccQBvuuvvHDfw8NA7tRtfL1Q+Clso2Vsy+/y8HJD4Ks6VynxL+ygNqNr5eqHwUbUbXy9UPgqpyyP+vg4+42edGZFndFxBMN4UFQ2hrr9Po9NR7BYM3Z3jCAIkgRJhDJZWtCiOO+V45NOLFiUn04KC62o2vl6ofBRtRtfL1Q+CmqKCssFlbAd/l42T0Q6x/0UztRtfL1Q+CoobsxJixXY5r8GPFdjkvw4PKvu4MOnk01jbAJg1gYxO+CyWSNY54J2Ky42jtjlzdmZEQI2JxewW4X3m8NvtRtfL1Q+Cjaja+Xqh8FNUUCNliKzyXuz73HpbALtMvNArte4/vD9FH8UtFAR/eH6KP4paapBse2HwYOKjvxYudLyVLv37X96Bqild+/a/vRv37X96AtvDH0o9zU1VbbM7fHxXGjn8jUxv37X96Bqild+/a/vRv37X96Bh+A+yocn8TH0a+4V4fO3HiuD9dQ2DO5mPiuLXn8goLGild+/a/vRv37X96BqlLH583Sj/HFXd+/a/vS1kzuObiuNHP1cVBZ0Urvv7X96N+/a/vQNUrLx8f8AB/fHRv37X96XlzufTivMfn8sdBZUUrv37X96N+/a/vQNUrlPiX9lG/ftf3pfKOdzL8VwfroLKild+/a/vRv37X96Bqild+/a/vRv37X96Ayf5h6WX/I9NVWZPzuA8VxsnP1j0zvv7X96Bqild+/a/vRv37X96Aj+8P0UfxS0VHZcWfkx4eKjuw38svLXaD2nHv0UfxS1lpbbJJY2C2yQzm3TWWF4jEuJzI6pjUKb1jjUuRw4YzWpj+8P0UfxS1LFZEXzY0XTi8lVGm66/R6btFB7QXAC8m4XXm68/mbq9UUUCtt4Y+lHuas3l/K8iS2tEtAF0FkMaEoubaaaSJ/KuJQMAgLkHBeGuN1x0lt4Y+lHuapGsaEsTGhLLhYlVJZToKk+kXAaPyoK3Ypa2ksitIzMwkljJYqxGblkQJjGh8IULi/Fhv8ATVxXmOMKoVQFAFwVQAABwAAcAr1QeX4D7KosrWxorHZ3WbNb/ZUYnB5cbyRI8flcF6s3Bp0VevwH2UrZbOrwRh0Vxm1NzAML8N19x9poKLI1un3RkhlZ2GCaRhigeNFEqLZcAQ4o74i4IcC9ozdfcTWpqOOBVLFVVSxxMVABZuC83cJqSgKqLbaESK0vLM0CBwWlQgMowQ6F0HSeAAC8k6NN1W9JWeIM0ysoYGUXqwBB3uLhBoMfZMrziWIPaWLA2YLBihfOx2iedJBIUG+OkKLeVNwaFjwE372oEsUYKlY4wUvCkKowBvOC6NF/puqegKVl4+P+D++OmqVl4+P+D++OgzNuykwktpgtrYYrNIWLtC4jtS3FViUjQEW9WvvF7qNLK12oyfNjhje8NijVsQuN5IGnRQbBHexzUd7C5jhW9hw3E3adIHVU0cYUBVAUDQFAAAHIAKD1SuU+Jf2U1SuU+Jf2UFRlu2XW2COO0sj3h5IS0YjFm8oM7qwvLMblW433reNCvXvYjazJHK4naeIzbw8jI7mLAl7EqB5LOJGW/ThYcAIAuJLIjMGaNGYcDMqkj06CeCuwWVEvCIiXm8hFC3nlN1BLRRRQVjzKllleSUwopmLTAgGNQ8l7gkG672Vm0yhIIrLIbW+I2tUzbSQs+1pZykayRBd8coVQ6QU0t5RU4tZYkBjYMAQZZQQdIIzj6CK9pk+JSpWKMFb8JCqCuLhwm7Rf+VAxRRRQKx/eH6KP4paKI/vD9FH8UtFBE0rC0PhjL71HpvUXeVLy1Ltl9Se0leWYCWQsbgIUJOkXC+a81hJbfM1ikksUkkkJnzoAtDPPCiiERxMzksodhJIy33gMF0XtcG92xJqD2ko2xJqD2kpkV2grbZaHvj3k8aPxJyNTG2X1J7SUW3hj6Ue5qymW7Sj2u0Rx202ZkszJK0k8qrnHERQpFjGBUQEl0w8Zwk47g1e2H1J7SUbYk1B7SUnsVtOOyI1x8+RQxklnEgV3USrJISzIwAYXngYXXi41bUCj2h7jvJ4OclQ2C0PmY95PFr+JOQU+/AfZWW2U2pFsESGVoZJFCQyiWSzrHKU46RlIBVBe2Fr7yAACSKDQ7Yk1J7SUbYk1B7SVnNjmUXa3zLI2cLGYkB5f+njilVYFaInCokiZXVgAThY+VebtbQK7Yk1B7SUtZLQ+ObeTxo/Emriqzqkynao44LU85cRhxizbPG58iEBVZSCCSQOEDTpIF9BY7ZfUntJRtiTUHtJWXyVAZGsaraJZGVTPLLFaJ5IhCjMI7OSGwynGwTEwJZYHv03VsqBXbEmoPaSl5LQ+fTeT5j/iTljqypWXj4/4P746A2y+pPaSjbEmpPaSsTlnKKma0Zi0sgWSOKVJJ5rjJn487IVxXwQKt8ZZbgc4dFygnVbFJmawws5ctg0s5LFriQGDHS6kAFWOkrcTpJoHNsSag9pKXyjaHzL7yeDnJVlSuU+Jf2UBth9Se0lG2H1J7SVQ7IrSu3YIY7QYJyMeJpXWPNnGqpmS2GV3fRdcSApN4IW/mwSWRklxPnIwyKkmee1q8gRc80czgYlLXcGgHFwG8AL/AGxJqD2ko2xJqD2kpqigrMn2h8B3k8bJ+JNY9M7ZfUntJS+NBZpDK5RMcuNwzR4Vzj3tjUgr7QRdWIsVukvjBnlJEsYsuGWZ0nvtjraMBJ3+MQZsXvfcl5Fw00G/2xJqD2ko2xJqD2kpqigRssjGeTEmDeo9F4N+mXkrte4/vD9FH8UtFAR/eH6KP4paapB7SFtD3hzfFH5qSP8Ail9Kg1LuivNl7qfw0DVFK7orzZe6n8NG6K82Xup/DQFt4Y+lHuamqrLZlBb4/Jl40Hip+Rv00zuivNl7qfw0DVFK7orzZe6n8NG6K82Xup/DQMPwH2VDk/iY+jX3CvD5RW4+TLwaqfw1DYMoLmY/Jl4tf9KfkH6aCxopXdFebL3U/ho3RXmy91P4aBqlLH583Sj/ABxV3dFebL3U/hpWyZQXHL5MvGj/AEp9XF+mgtKKV3RXmy91P4aN0V5svdT+GgapWXj4/wCD++OjdFebL3U/hpaTKC59Dhl8x/8ASn5Y/wBNBZ0UruivNl7qfw0borzZe6n8NA1SuU+Jf2UborzZe6n8NLZRygphcYZeDVT+Ggs6KV3RXmy91P4aN0V5svdT+GgaopXdFebL3U/ho3RXmy91P4aAyf5h6WX/ACPTVVtitoVSCso3yQ8VNwM7EHzeQimN0V5svdT+GgaopXdFebL3U/ho3RXmy91P4aAj+8P0UfxS0VHZZw08hAYb3H5yunpl5wF9doPace/RR++Ws2mVLQglRpsTRZQs0V80ceNrPO8KMRmiFAYu5U3EgC4i/SNIovncHSM0guPp0y0uuxuyiPNCyWfN487m82mHOAXB7rvOAAAPoAHJQWIrtFFArbeGPpR7mpqlbbwx9KPc1NUBRRRQeX4D7KhyfxMfRr7hUz8B9lQ5P4mPo19woGKKKKApSx+fN0o/xxU3Slj8+bpR/jioG6KKKApWXj4/4P746apWXj4/4P746BqiiigKVynxL+ymqVynxL+ygaoqqyjbLQryCOHEqwl0IXEWkANy3Y1v03DDovvvxClLLb7aSMdniUZ3Cbr783jhGIeVzHmOnV8A4CGgorPPly2AkDJZIBcBs/HpCC8NddwPwL+fDcNNRTZatocFbBemZDmMkFhKTpjx4gDcLuBeXhoNNRWbbLNtJI2jm1uUh8SzkG/SMAZMRuI9IAuJvPBXVy5bMRG5puvOEmVV0KwAv0HhGn/jTw0GjorO2fLdsJIbJ5QXMQ2NTdcGwrd+I4govvA0k8FxMliyra2mVZLEEjbCMQkDFD5RZjo0i7ALtGkNpN4oLSP7w/RR/FLRRH94foo/ilooIzaUW0PjdVvijuxELf5UvLU26MWuj7a/OpytcwDkFBDujFro+2vzo3Ri10fbX51NgHIKMA5BQIWy3x3x77HxoPnryN+dM7oxa6Ptr86nwDkFcwDkFBDujFro+2vzo3Ri10fbX51NgHIKMA5BQLvlCK477Hwc9fnUNgyhHmY99j4tfxLyD86ewDkFGAcgoId0YtdH21+dG6MWuj7a/OpsA5BRgHIKCHdGLXR9tfnStkt8eOXfY+NH4l1cX51YYByCu4ByCgg3Ri10fbX50boxa6Ptr86mwDkFGAcgoId0YtdH21+dLSW+PPoc7H5j/jXlT86fwDkFdwDkFBBujFro+2vzo3Ri10fbX51NgHIKMA5BQQ7oxa6Ptr86Wyjb4zC4EsfBz1+dP4ByCu4ByCgg3Ri1sfbX50boxa6Ptr86mwDkFGAcgoId0YtdH21+dG6MWtj7a/OpsA5BRgHIKCHdGLXR9tfnRujFrY+2vzqbAOQUYByCgh3Ri1sfbX50boxa6Ptr86mwDkFGAcgoFLNOrTuVZW3uPzSGu0y8lFOAUUH/2Q=="/>
          <p:cNvSpPr>
            <a:spLocks noChangeAspect="1" noChangeArrowheads="1"/>
          </p:cNvSpPr>
          <p:nvPr/>
        </p:nvSpPr>
        <p:spPr bwMode="auto">
          <a:xfrm>
            <a:off x="79375" y="-727075"/>
            <a:ext cx="1828800" cy="1504950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Oval 6"/>
          <p:cNvSpPr/>
          <p:nvPr/>
        </p:nvSpPr>
        <p:spPr bwMode="auto">
          <a:xfrm>
            <a:off x="8915400" y="152400"/>
            <a:ext cx="990600" cy="990600"/>
          </a:xfrm>
          <a:prstGeom prst="ellips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8867900" y="297875"/>
            <a:ext cx="106680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Capital Markets Finance</a:t>
            </a:r>
            <a:endParaRPr lang="en-US" dirty="0"/>
          </a:p>
        </p:txBody>
      </p:sp>
      <p:sp>
        <p:nvSpPr>
          <p:cNvPr id="12" name="Rectangle 11"/>
          <p:cNvSpPr>
            <a:spLocks noChangeArrowheads="1"/>
          </p:cNvSpPr>
          <p:nvPr/>
        </p:nvSpPr>
        <p:spPr bwMode="gray">
          <a:xfrm>
            <a:off x="990600" y="1447800"/>
            <a:ext cx="2895600" cy="5562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9" tIns="36571" rIns="36571" bIns="36571"/>
          <a:lstStyle/>
          <a:p>
            <a:pPr marL="458788" lvl="1" indent="-457200" defTabSz="1019175" eaLnBrk="0" hangingPunct="0">
              <a:buClr>
                <a:schemeClr val="folHlink"/>
              </a:buClr>
              <a:buSzPct val="125000"/>
              <a:buFont typeface="Wingdings" pitchFamily="2" charset="2"/>
              <a:buChar char="§"/>
            </a:pPr>
            <a:endParaRPr lang="en-US" sz="1600" b="1" dirty="0" smtClean="0">
              <a:solidFill>
                <a:schemeClr val="bg2"/>
              </a:solidFill>
            </a:endParaRPr>
          </a:p>
          <a:p>
            <a:pPr marL="463550" lvl="3" indent="-461963" defTabSz="1019175" eaLnBrk="0" hangingPunct="0">
              <a:buClr>
                <a:schemeClr val="folHlink"/>
              </a:buClr>
              <a:buSzPct val="125000"/>
              <a:buFont typeface="Wingdings" pitchFamily="2" charset="2"/>
              <a:buChar char="§"/>
            </a:pPr>
            <a:r>
              <a:rPr lang="en-US" sz="1600" u="sng" dirty="0" smtClean="0">
                <a:hlinkClick r:id="rId4"/>
              </a:rPr>
              <a:t>http://www.universityofcalifornia.edu/finreports/index.php?file=debtcapital/debtcapital_2010.pdf</a:t>
            </a:r>
            <a:endParaRPr lang="en-US" sz="1600" u="sng" dirty="0" smtClean="0"/>
          </a:p>
          <a:p>
            <a:pPr marL="1373188" lvl="3" indent="-457200" defTabSz="1019175" eaLnBrk="0" hangingPunct="0">
              <a:buClr>
                <a:schemeClr val="folHlink"/>
              </a:buClr>
              <a:buSzPct val="125000"/>
              <a:buFont typeface="Wingdings" pitchFamily="2" charset="2"/>
              <a:buChar char="§"/>
            </a:pPr>
            <a:endParaRPr lang="en-US" sz="1600" u="sng" dirty="0" smtClean="0"/>
          </a:p>
          <a:p>
            <a:pPr marL="463550" lvl="3" indent="-461963" defTabSz="1019175" eaLnBrk="0" hangingPunct="0">
              <a:buClr>
                <a:schemeClr val="folHlink"/>
              </a:buClr>
              <a:buSzPct val="125000"/>
              <a:buFont typeface="Wingdings" pitchFamily="2" charset="2"/>
              <a:buChar char="§"/>
            </a:pPr>
            <a:r>
              <a:rPr lang="en-US" sz="1600" b="1" dirty="0" smtClean="0">
                <a:solidFill>
                  <a:schemeClr val="accent1"/>
                </a:solidFill>
                <a:sym typeface="Wingdings" pitchFamily="2" charset="2"/>
              </a:rPr>
              <a:t>Take 15 minutes to review the CMF’s “Annual Report on Debt Capital and External Finance Approvals”</a:t>
            </a:r>
          </a:p>
          <a:p>
            <a:pPr marL="463550" lvl="3" indent="-461963" defTabSz="1019175" eaLnBrk="0" hangingPunct="0">
              <a:buClr>
                <a:schemeClr val="folHlink"/>
              </a:buClr>
              <a:buSzPct val="125000"/>
              <a:buFont typeface="Wingdings" pitchFamily="2" charset="2"/>
              <a:buChar char="§"/>
            </a:pPr>
            <a:endParaRPr lang="en-US" sz="1600" b="1" dirty="0" smtClean="0">
              <a:solidFill>
                <a:schemeClr val="accent1"/>
              </a:solidFill>
              <a:sym typeface="Wingdings" pitchFamily="2" charset="2"/>
            </a:endParaRPr>
          </a:p>
          <a:p>
            <a:pPr marL="463550" lvl="3" indent="-461963" defTabSz="1019175" eaLnBrk="0" hangingPunct="0">
              <a:buClr>
                <a:schemeClr val="folHlink"/>
              </a:buClr>
              <a:buSzPct val="125000"/>
              <a:buFont typeface="Wingdings" pitchFamily="2" charset="2"/>
              <a:buChar char="§"/>
            </a:pPr>
            <a:r>
              <a:rPr lang="en-US" sz="1600" b="1" dirty="0" smtClean="0">
                <a:solidFill>
                  <a:schemeClr val="accent1"/>
                </a:solidFill>
                <a:sym typeface="Wingdings" pitchFamily="2" charset="2"/>
              </a:rPr>
              <a:t>Come up with three questions – broad or specific!</a:t>
            </a:r>
          </a:p>
          <a:p>
            <a:pPr marL="463550" lvl="3" indent="-461963" defTabSz="1019175" eaLnBrk="0" hangingPunct="0">
              <a:buClr>
                <a:schemeClr val="folHlink"/>
              </a:buClr>
              <a:buSzPct val="125000"/>
              <a:buFont typeface="Wingdings" pitchFamily="2" charset="2"/>
              <a:buChar char="§"/>
            </a:pPr>
            <a:endParaRPr lang="en-US" sz="1600" b="1" dirty="0" smtClean="0">
              <a:solidFill>
                <a:schemeClr val="accent1"/>
              </a:solidFill>
              <a:sym typeface="Wingdings" pitchFamily="2" charset="2"/>
            </a:endParaRPr>
          </a:p>
          <a:p>
            <a:pPr marL="463550" lvl="4" indent="-461963" defTabSz="1019175" eaLnBrk="0" hangingPunct="0">
              <a:buClr>
                <a:schemeClr val="folHlink"/>
              </a:buClr>
              <a:buSzPct val="125000"/>
              <a:buFont typeface="Wingdings" pitchFamily="2" charset="2"/>
              <a:buChar char="§"/>
            </a:pPr>
            <a:r>
              <a:rPr lang="en-US" sz="1600" b="1" dirty="0" smtClean="0">
                <a:solidFill>
                  <a:schemeClr val="accent1"/>
                </a:solidFill>
                <a:sym typeface="Wingdings" pitchFamily="2" charset="2"/>
              </a:rPr>
              <a:t>Email your questions to </a:t>
            </a:r>
            <a:r>
              <a:rPr lang="en-US" sz="1600" i="1" dirty="0" smtClean="0">
                <a:hlinkClick r:id="rId5"/>
              </a:rPr>
              <a:t>Allen.Yin@ucop.edu</a:t>
            </a:r>
            <a:r>
              <a:rPr lang="en-US" sz="1600" i="1" dirty="0" smtClean="0"/>
              <a:t> </a:t>
            </a:r>
          </a:p>
          <a:p>
            <a:pPr marL="1830388" lvl="4" indent="-457200" defTabSz="1019175" eaLnBrk="0" hangingPunct="0">
              <a:buClr>
                <a:schemeClr val="folHlink"/>
              </a:buClr>
              <a:buSzPct val="125000"/>
              <a:buFont typeface="Wingdings" pitchFamily="2" charset="2"/>
              <a:buChar char="§"/>
            </a:pPr>
            <a:endParaRPr lang="en-US" sz="1600" b="1" i="1" dirty="0" smtClean="0">
              <a:solidFill>
                <a:schemeClr val="accent1"/>
              </a:solidFill>
              <a:sym typeface="Wingdings" pitchFamily="2" charset="2"/>
            </a:endParaRPr>
          </a:p>
          <a:p>
            <a:pPr marL="463550" lvl="4" indent="-461963" defTabSz="1019175" eaLnBrk="0" hangingPunct="0">
              <a:buClr>
                <a:schemeClr val="folHlink"/>
              </a:buClr>
              <a:buSzPct val="125000"/>
              <a:buFont typeface="Wingdings" pitchFamily="2" charset="2"/>
              <a:buChar char="§"/>
            </a:pPr>
            <a:r>
              <a:rPr lang="en-US" sz="1600" b="1" i="1" dirty="0" smtClean="0">
                <a:solidFill>
                  <a:schemeClr val="accent1"/>
                </a:solidFill>
                <a:sym typeface="Wingdings" pitchFamily="2" charset="2"/>
              </a:rPr>
              <a:t>Learn from it, and pass it on!</a:t>
            </a:r>
            <a:endParaRPr lang="en-US" sz="1600" b="1" dirty="0" smtClean="0">
              <a:solidFill>
                <a:schemeClr val="accent1"/>
              </a:solidFill>
              <a:sym typeface="Wingdings" pitchFamily="2" charset="2"/>
            </a:endParaRPr>
          </a:p>
          <a:p>
            <a:pPr marL="463550" lvl="3" indent="-461963" defTabSz="1019175" eaLnBrk="0" hangingPunct="0">
              <a:buClr>
                <a:schemeClr val="folHlink"/>
              </a:buClr>
              <a:buSzPct val="125000"/>
              <a:buFont typeface="Wingdings" pitchFamily="2" charset="2"/>
              <a:buChar char="§"/>
            </a:pPr>
            <a:endParaRPr lang="en-US" sz="1600" b="1" dirty="0" smtClean="0">
              <a:solidFill>
                <a:schemeClr val="accent1"/>
              </a:solidFill>
              <a:sym typeface="Wingdings" pitchFamily="2" charset="2"/>
            </a:endParaRPr>
          </a:p>
          <a:p>
            <a:pPr marL="463550" lvl="3" indent="-461963" defTabSz="1019175" eaLnBrk="0" hangingPunct="0">
              <a:buClr>
                <a:schemeClr val="folHlink"/>
              </a:buClr>
              <a:buSzPct val="125000"/>
              <a:buFont typeface="Wingdings" pitchFamily="2" charset="2"/>
              <a:buChar char="§"/>
            </a:pPr>
            <a:endParaRPr lang="en-US" sz="1600" b="1" dirty="0" smtClean="0">
              <a:solidFill>
                <a:schemeClr val="accent1"/>
              </a:solidFill>
              <a:sym typeface="Wingdings" pitchFamily="2" charset="2"/>
            </a:endParaRPr>
          </a:p>
          <a:p>
            <a:pPr marL="463550" lvl="3" indent="-461963" defTabSz="1019175" eaLnBrk="0" hangingPunct="0">
              <a:buClr>
                <a:schemeClr val="folHlink"/>
              </a:buClr>
              <a:buSzPct val="125000"/>
              <a:buFont typeface="Wingdings" pitchFamily="2" charset="2"/>
              <a:buChar char="§"/>
            </a:pPr>
            <a:endParaRPr lang="en-US" sz="1600" b="1" dirty="0" smtClean="0">
              <a:solidFill>
                <a:schemeClr val="accent1"/>
              </a:solidFill>
              <a:sym typeface="Wingdings" pitchFamily="2" charset="2"/>
            </a:endParaRPr>
          </a:p>
        </p:txBody>
      </p:sp>
      <p:pic>
        <p:nvPicPr>
          <p:cNvPr id="17" name="Picture 16"/>
          <p:cNvPicPr/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24399" y="1524000"/>
            <a:ext cx="4573693" cy="5638800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</p:pic>
    </p:spTree>
    <p:custDataLst>
      <p:tags r:id="rId1"/>
    </p:custDataLst>
  </p:cSld>
  <p:clrMapOvr>
    <a:masterClrMapping/>
  </p:clrMapOvr>
  <p:transition xmlns:p14="http://schemas.microsoft.com/office/powerpoint/2010/main">
    <p:cut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Rectangle 2"/>
          <p:cNvSpPr>
            <a:spLocks noGrp="1" noChangeArrowheads="1"/>
          </p:cNvSpPr>
          <p:nvPr>
            <p:ph type="title"/>
          </p:nvPr>
        </p:nvSpPr>
        <p:spPr>
          <a:xfrm>
            <a:off x="762000" y="838200"/>
            <a:ext cx="8153400" cy="304800"/>
          </a:xfrm>
        </p:spPr>
        <p:txBody>
          <a:bodyPr/>
          <a:lstStyle/>
          <a:p>
            <a:pPr lvl="1"/>
            <a:r>
              <a:rPr lang="en-US" sz="2300" dirty="0" smtClean="0"/>
              <a:t>Case Study C:  Part 4 – How might this relate to your area?</a:t>
            </a:r>
          </a:p>
        </p:txBody>
      </p:sp>
      <p:sp>
        <p:nvSpPr>
          <p:cNvPr id="93188" name="AutoShape 4" descr="data:image/jpg;base64,/9j/4AAQSkZJRgABAQAAAQABAAD/2wCEAAkGBhQSDhQQEA8QEBQUEBkQFA4QFhEQFBAQFBwWFRUQFRQYHycqFxkjGRUTHy8iIycsLCwsFR4xQTIqNSYrLSkBCQoKBQUFDQUFDSkYEhgpKSkpKSkpKSkpKSkpKSkpKSkpKSkpKSkpKSkpKSkpKSkpKSkpKSkpKSkpKSkpKSkpKf/AABEIAMwA9wMBIgACEQEDEQH/xAAbAAACAwEBAQAAAAAAAAAAAAAABAMFBgECB//EAEkQAAIBAQMEDQkIAQMDBQEAAAECAwAEERIFEyFTBhQVIzEzUVJzkZKT0iIyQVRxsbLR0wc0QmFiY3Kis0OBoSR0dRY1NsHCCP/EABQBAQAAAAAAAAAAAAAAAAAAAAD/xAAUEQEAAAAAAAAAAAAAAAAAAAAA/9oADAMBAAIRAxEAPwD7PLaXzhRERrkViWcp5xYXABTzf+a5nJtXF3j/AE67H94foo/ilpqgUzk2ri7x/p0ZybVxd4/06booFM5Nq4u8f6dGcm1cXeP9Om6KBTOTauLvH+nRnJtXF3j/AE6booFM5Nq4u8f6dGcm1cXeP9Om6KBTOTauLvH+nRnJtXF3j/TrL5O+0FpctS5KNjwtCpkefPBlzVyFXC4LyTnI9HovOnRV3YNl1kmWV4bVFKsK4pShLZpdOluTzT1Ggdzk2ri7x/p0ZybVxd4/06rZNnNhWBLQ1tgELsUSYtcjuvnKG4CR/wDR5KnynssslnEZtFqihEq4o84cOcGjzb+HhGj86BvOTauLvH+nRnJtXF3j/TqOfL0CWiOzPMizSrijhN+J106VHpHknqqHZRsijsNjltc2IpGAcK6WdmIVUH5liBQNZybVxd4/06M5Nq4u8f6dYXYr9sAtNshslpsEtia0xCazu7iRZkYMVbzVuDBWuOm8i6qu1f8A9ARLLI0eT55bLHMIXtiuo8psWErGRpvCORew0D0UH07OTauLvH+nRnJtXF3j/TrH7LPtjsNiiVlfbUsiJIlniNzZuRQ6u7Eb2CjAgHSbxo9Ij2WfbNZLEqLcbROwUtZYmF8IYBt8e64EXjRw/kKDaZybVxd4/wBOjOTauLvH+nTQNdoFM5Nq4u8f6dGcm1cXeP8ATpuigUzk2ri7x/p0ZybVxd4/06booFM5Nq4u8f6dGcm1cXeP9Om6KBTOTauLvH+nRnJtXF3j/TpuigWs1oYuyOiqQqterFwQxYelRd5v/NFcj+8P0UfxS0UBH94foo/ilpqlY/vD9FH8UtNUBRRRQFFFFAUUUUBRRRQfJtjv/wA5yh/2Q+Gx1P8AZMdGWf8AyU3/AOqNhViefZPlDKcattUxbWSZlZBLKogVgmIDEAYXvI/Llq+H2evFPa3sVuazJbWMk0LRJNhka/FJC5YYCcR4Qw6hQfNNkf8A8Lyb/wB2nvtNfTPtY2ObcyTMqm6WAbbhN9xDxXkge1cS+0jkrxsk+zGO05Ns+TYp2s8NnZXBwCV3KBlUkkgaS7k6NJPopj/0VO00882UM7JLYmsKnMIiQxu2JmCB/KY/meTkuoEfs0tj5QUZXnW5mgWxwryLHcbTLcDozk4YfxiWtXsgyLBarM0FrQPCbnZWZox5BxAllIIAIv4fRSOwfYtudYlsYmz6ozFHKCMgOS5U3E3+UW06OGvOz/ItoteTZrLZJEiklATHIWVc2SM4pKgnSt44PTQfKNg9lGU9kBtkCFLFk6IQ2cHEd7jVo7OgLabz5chvvI4Dw18/yd/7Ba//ACFl+C019m+znYRlbJ7xwSTZP2mHd5o4gxlkLKbjiMYvN+AcPAt1Ze0fYdlBBNYoJrIbJLaUnz0hkEqiISKgKheG6Q3gX3kDSNNAl9p2S4l2O5JtCwxrK8MKvMqqHdRZxcGYC9rsK3X8F1TfbrkyJLPk2ZIY0kkRs5KiqrS3JBdjYDyrrzw8tbn7QvsymteS7HYbJJENq4VxTlkxIkebB8lW0nQaj+077NrTlGz2KKzvZ1azKwcys6gkrGow4UN+lDw3eig+lrwV2uCu0BRRRQFFFFAUUUUBRRRQKx/eH6KP4paKI/vD9FH8UtFBE8xW0PdG771HpUxi7ypecwqXbjery9cHjoRv+ofoo/ilpLZRY89Y5IlMt7YQDCY8YuZTiukIV1F17KfOUMum+6gd22/q8vXB46NuN6vL1weOvncOxm1XPnLLGpkzUxWJohEjR2aeJogpbyTnGW4C8DH51wJGm2FZJls2ejm0qrJFBKSpaSzIt8eO4+egbNknhzd/poL7bjery9cHjo243q8vXB46ZxjlFUmzHJW2rC9mUm+Ro1xIQGjGcQmUEkaVALcuigstuN6vL1weOjbjery9cHjr53FsZtmcd7TDtgSSvJLEjxYZJpbJCiugZh5CTCdBfcRjVrvSHtj2xy1w2yB5TnUJU2h2dTdaYbKIBaUBN5Ehd1bRffGhu0mg223G9Xl64PHRtxvV5euDx0xjHKK7jHKKBbbbery9cHjo22/q8vXB46zuXtjQmyhFKIUZTZ5xLKSuic7W2uTeb9Gae64XDTzjfl//AEraTHZcVlJzUMEMqE2aQsYbLaonNzOAymWWIAk+jFoABoPpW3G9Xl64PHRtxvV5euDx1NEwwjgGgaL77vyvr3jHKKBbbjery9cHjo22/q8vXB46yez3Y5NaZFay6C9knsssiuEZL83PAwvIv32HBo9ExqqtOxm0GYytZsRlsV7qu12CWyV7TK6B2cFcBmj8pb8QQLwUH0Hbjery9cHjo243q8vXB46zmwTJMsAkzq5lGis6LAWVrpo4gs81ykhcTYRoOnNk+nTrMY5RQLbcb1eXrg8dG239Xl64PHXu1QJIhjkCurC5kPAw5DyivmE2wu07TjWODNynJ1viluaC9rRNm1gQnHdeVQjEOD0kUH0zbjery9cHjo243q8vXB46yWxzIU0dsxPFgRbRaZw+KMqUnWEIoAN+IYXBF1wwfmL9tjHKKBbbjery9cHjo22/q8vXB46YxjlFfPdkWxSeaXKEixK2cezmAERFnwizrI6uXGFQElBQ3Yr7+Sg3W3G9Xl64PHRtxvV5euDx1kth+RZ4bYzzxYFFmkhxhozGzm1TyjNqGJSMxyIVU+aLlvJWtrjHKKBfbjery9cHjo243q8vXB46ZxjlFZjZ3k2SeFBAhkdHMixnNtDI2BkzVoVmXyGDsMS6UNzeigvttt6vL1weOjbjery9cHjr59lLY5aZXtDtZseeezWlAXibMyJaFE0VzPdi2qkIJGgiMjhYg/RbNCkaLGgCqihFUcCqouAH+1AvZZS08l6Mm9x6GwG/TLzWNFSRH/qH6KP4paKCM2ZGtD40Rroo/OUNd5UvLU250Wpj7C/KvMf3h+ij+KWmqBfc6LUx9hflRudFqY+wvypiigrrZk+O+Peo+NH4F5G/KmdzotTH2F+Vebbwx9KPc1NUC+50Wpj7C/Kjc6LUx9hflTFFAq+TorjvMXBzF+VQ2DJ8eZj3qPi1/AvIPyp5+A+yocn8TH0a+4UBudFqY+wvyo3Oi1MfYX5UxRQL7nRamPsL8qVsmT48cu9R8aPwLq4vyqypSx+fN0o/xxUHvc6LUx9hflRudFqY+wvypiigX3Oi1MfYX5UtJk+PPoM1H5j/AIF5Y/yqxpWXj4/4P746D1udFqY+wvyo3Oi1MfYX5UxRQL7nRamPsL8qWyjk+MQvvUfBzF+VWNK5T4l/ZQLSmBbQlnMK45EaRd6GHCmENe911/lDRw03udFqY+wvypa15NdrXDOsiKsSupjKMzPnMN5DhgFuwj8J9NWNAvudFqY+wvyrm50Wpj7C/KmaKCpgssawu+11kIkluREjLNdI9yi+4dZAr3kzMzxCRYFXynQo6IGSSNmjdDdeLwysLwSDdoJFdzLvZpEhlEMjPKFlK5zAxkfysN4vu9tS5GsBhgWIlDhvF8augN5JvON3JY33lixJJJ9NBLudFqY+wvyo3Oi1MfYX5UxRQJWaBVncIqrvUfmgLfpl5KK9x/eH6KP4paKAj+8P0UfxS01Ve9mDWhyS4uiTzXkT8UvoUi+oMmzQzhs29ovRgrJI1rhdSQGF6SEG4ggg3XUFvRSu5y86XvZ/FRucvOl72fxUBbeGPpR7mpqqy2ZPW+PypeNA42fkb9Vcvhz+1s7Jnc0Zs3nbReIwQuI+Vo0kDTw6eQ0FpRSu5y86XvZ/FRucvOl72fxUDD8B9lQ5P4mPo19wrw+TluPlS8Gtn8VVrSwwwQmRrR5YVFWM2yZmbAXICR4j5qseD0UF7RSi5PUi/FN/vLOP+MVd3OXnS97P4qBqlLH583Sj/HFXdzl50vez+KkM1HGJ5JJJFRJLyxln0DNxcjaT/wA0FzRSFmsySIHU2gAi8B3tUTf7o5BH+4qXc5edL3s/ioGqVl4+P+D++Ojc5edL3s/ipaTJ655Bil8x/wDVn5Y/1UFnRVPHaIWtG18VqElzMA+3UVlQqGZZGuVgC68BPnCntzl50vez+KgapXKfEv7KNzl50vez+Klso5PUQucUvBrZ/FQWdFU9qtMEcqxPLMHbDoD2pgucYpHjcG5MTgquIi8i4U9ucvOl72fxUDVcpbc5edL3s/io3OXnS97P4qAyd5h6WX/I9NVTJHFFA8skkqqskhLZ2c6BI40ANeSdAuGkk1PYFimjzkbzFbyumS0oyspKsrKzAqQQRcRQWVFK7nLzpe9n8VG5y86XvZ/FQEf3h+ij+KWio7LAFnkALHe4/OZ39MvOJurtB6Xj5LuHNJdfy3y0lkDJskbTySiNDNKJc1E7zKpwqrNnHVSSSOC64AC7009H94foo/ilpqgKKKKBW28MfSj3NVbZ9jWC37aWWQqyTY43IN8kpgII8m/CFhu0nRhQDQKsrbwx9KPc1NUBRRRQeX4D7KoMsZJe0WKJI0jZwgKSSSSwmBzGUEyNGpJYYjovF950ir9+A+yocn8TH0a+4UEsSkKATiIABY6MRHpr3RRQFUeVcmG0Q2iJSt+fjkAYsqsYhZ5QjFdIDYMJI0gG/TV5Slj8+bpR/jioIcgWB4bOI5CCcbsFVmdY0d2dIVZgCyopCgkDzeADQLGiigKVl4+P+D++OmqVl4+P+D++OghsuTmFpltEhUllWKIC/e4VGI33/iaRmJu9Cx8lWFFFAUrlPiX9lNUrlPiX9lBTZY2OSS22O0KUAXM3MWdWjzUrSSDNgXTB1KqMZGAriGmtHRRQFFFFBVS2ITWWWIqHxPLcpZovLEjlTnFBKEMAcQBIuvr1seyU0EJV2xO8rzOcTP5TknDiYAtcMIvuF919w4Azk7zD0sv+R6aoCiiigVj+8P0UfxS0UR/eH6KP4paKCJoS1oe6R03qPQojN/lS85TUu1G18vVD4KE49+ij+KWsFbYGay3CK1OBugIQ8dqZ1tkkoexS+WMQOAvhkOhb+EGg3u1G18vVD4KNqNr5eqHwUyvBprtBWWyytfHv8vGj0Q8jfopnaja+Xqh8FFt4Y+lHuaqdyBb7ViFpwtYogWUWrDiUzYhEyi4NhePRGcRJ5RQXG1G18vVD4KNqNr5eqHwUpsVJ3PswYOrCzRqyyK6OHVQrBlYAg3g8NWtAo9ka47/LwckPgqGwWVszHv8ALxa+iHkH6KffgPsrPZe+4QECYkTWV7oRM5uWSJnLLECSuAOSCLtHsoLnaja+Xqh8FG1G18vVD4KpMlopynM6QyQ4Y2jYmKZBanLIzTNIVwsFuCppJ8qT8N1+loFdqNr5eqHwUrZLK2Obf5eNHoh1cX6KtKrZLsFpxY7sRvzecx3ZqPzc35V/8dNAxtRtfL1Q+Cjaja+Xqh8FZGzw4hkwiGXPpHCJC0FoSQRqjKwM7ACNVbGWQ6X8kaL1v3FArtRtfL1Q+ClpLK2fTf5fMf0Q8sf6Ks6Vl4+P+D++OgNqNr5eqHwUbUbXy9UPgrP2mKZrZa0s+cUvHZ/LlNpjjuUy55YZSrBWwsnmaAWvuvvqz2IxOuTrMsqlHWzorIS5KkKBccQBvuuvvHDfw8NA7tRtfL1Q+Clso2Vsy+/y8HJD4Ks6VynxL+ygNqNr5eqHwUbUbXy9UPgqpyyP+vg4+42edGZFndFxBMN4UFQ2hrr9Po9NR7BYM3Z3jCAIkgRJhDJZWtCiOO+V45NOLFiUn04KC62o2vl6ofBRtRtfL1Q+CmqKCssFlbAd/l42T0Q6x/0UztRtfL1Q+CoobsxJixXY5r8GPFdjkvw4PKvu4MOnk01jbAJg1gYxO+CyWSNY54J2Ky42jtjlzdmZEQI2JxewW4X3m8NvtRtfL1Q+Cjaja+Xqh8FNUUCNliKzyXuz73HpbALtMvNArte4/vD9FH8UtFAR/eH6KP4paapBse2HwYOKjvxYudLyVLv37X96Bqild+/a/vRv37X96AtvDH0o9zU1VbbM7fHxXGjn8jUxv37X96Bqild+/a/vRv37X96Bh+A+yocn8TH0a+4V4fO3HiuD9dQ2DO5mPiuLXn8goLGild+/a/vRv37X96BqlLH583Sj/HFXd+/a/vS1kzuObiuNHP1cVBZ0Urvv7X96N+/a/vQNUrLx8f8AB/fHRv37X96XlzufTivMfn8sdBZUUrv37X96N+/a/vQNUrlPiX9lG/ftf3pfKOdzL8VwfroLKild+/a/vRv37X96Bqild+/a/vRv37X96Ayf5h6WX/I9NVWZPzuA8VxsnP1j0zvv7X96Bqild+/a/vRv37X96Aj+8P0UfxS0VHZcWfkx4eKjuw38svLXaD2nHv0UfxS1lpbbJJY2C2yQzm3TWWF4jEuJzI6pjUKb1jjUuRw4YzWpj+8P0UfxS1LFZEXzY0XTi8lVGm66/R6btFB7QXAC8m4XXm68/mbq9UUUCtt4Y+lHuas3l/K8iS2tEtAF0FkMaEoubaaaSJ/KuJQMAgLkHBeGuN1x0lt4Y+lHuapGsaEsTGhLLhYlVJZToKk+kXAaPyoK3Ypa2ksitIzMwkljJYqxGblkQJjGh8IULi/Fhv8ATVxXmOMKoVQFAFwVQAABwAAcAr1QeX4D7KosrWxorHZ3WbNb/ZUYnB5cbyRI8flcF6s3Bp0VevwH2UrZbOrwRh0Vxm1NzAML8N19x9poKLI1un3RkhlZ2GCaRhigeNFEqLZcAQ4o74i4IcC9ozdfcTWpqOOBVLFVVSxxMVABZuC83cJqSgKqLbaESK0vLM0CBwWlQgMowQ6F0HSeAAC8k6NN1W9JWeIM0ysoYGUXqwBB3uLhBoMfZMrziWIPaWLA2YLBihfOx2iedJBIUG+OkKLeVNwaFjwE372oEsUYKlY4wUvCkKowBvOC6NF/puqegKVl4+P+D++OmqVl4+P+D++OgzNuykwktpgtrYYrNIWLtC4jtS3FViUjQEW9WvvF7qNLK12oyfNjhje8NijVsQuN5IGnRQbBHexzUd7C5jhW9hw3E3adIHVU0cYUBVAUDQFAAAHIAKD1SuU+Jf2U1SuU+Jf2UFRlu2XW2COO0sj3h5IS0YjFm8oM7qwvLMblW433reNCvXvYjazJHK4naeIzbw8jI7mLAl7EqB5LOJGW/ThYcAIAuJLIjMGaNGYcDMqkj06CeCuwWVEvCIiXm8hFC3nlN1BLRRRQVjzKllleSUwopmLTAgGNQ8l7gkG672Vm0yhIIrLIbW+I2tUzbSQs+1pZykayRBd8coVQ6QU0t5RU4tZYkBjYMAQZZQQdIIzj6CK9pk+JSpWKMFb8JCqCuLhwm7Rf+VAxRRRQKx/eH6KP4paKI/vD9FH8UtFBE0rC0PhjL71HpvUXeVLy1Ltl9Se0leWYCWQsbgIUJOkXC+a81hJbfM1ikksUkkkJnzoAtDPPCiiERxMzksodhJIy33gMF0XtcG92xJqD2ko2xJqD2kpkV2grbZaHvj3k8aPxJyNTG2X1J7SUW3hj6Ue5qymW7Sj2u0Rx202ZkszJK0k8qrnHERQpFjGBUQEl0w8Zwk47g1e2H1J7SUbYk1B7SUnsVtOOyI1x8+RQxklnEgV3USrJISzIwAYXngYXXi41bUCj2h7jvJ4OclQ2C0PmY95PFr+JOQU+/AfZWW2U2pFsESGVoZJFCQyiWSzrHKU46RlIBVBe2Fr7yAACSKDQ7Yk1J7SUbYk1B7SVnNjmUXa3zLI2cLGYkB5f+njilVYFaInCokiZXVgAThY+VebtbQK7Yk1B7SUtZLQ+ObeTxo/Emriqzqkynao44LU85cRhxizbPG58iEBVZSCCSQOEDTpIF9BY7ZfUntJRtiTUHtJWXyVAZGsaraJZGVTPLLFaJ5IhCjMI7OSGwynGwTEwJZYHv03VsqBXbEmoPaSl5LQ+fTeT5j/iTljqypWXj4/4P746A2y+pPaSjbEmpPaSsTlnKKma0Zi0sgWSOKVJJ5rjJn487IVxXwQKt8ZZbgc4dFygnVbFJmawws5ctg0s5LFriQGDHS6kAFWOkrcTpJoHNsSag9pKXyjaHzL7yeDnJVlSuU+Jf2UBth9Se0lG2H1J7SVQ7IrSu3YIY7QYJyMeJpXWPNnGqpmS2GV3fRdcSApN4IW/mwSWRklxPnIwyKkmee1q8gRc80czgYlLXcGgHFwG8AL/AGxJqD2ko2xJqD2kpqigrMn2h8B3k8bJ+JNY9M7ZfUntJS+NBZpDK5RMcuNwzR4Vzj3tjUgr7QRdWIsVukvjBnlJEsYsuGWZ0nvtjraMBJ3+MQZsXvfcl5Fw00G/2xJqD2ko2xJqD2kpqigRssjGeTEmDeo9F4N+mXkrte4/vD9FH8UtFAR/eH6KP4paapB7SFtD3hzfFH5qSP8Ail9Kg1LuivNl7qfw0DVFK7orzZe6n8NG6K82Xup/DQFt4Y+lHuamqrLZlBb4/Jl40Hip+Rv00zuivNl7qfw0DVFK7orzZe6n8NG6K82Xup/DQMPwH2VDk/iY+jX3CvD5RW4+TLwaqfw1DYMoLmY/Jl4tf9KfkH6aCxopXdFebL3U/ho3RXmy91P4aBqlLH583Sj/ABxV3dFebL3U/hpWyZQXHL5MvGj/AEp9XF+mgtKKV3RXmy91P4aN0V5svdT+GgapWXj4/wCD++OjdFebL3U/hpaTKC59Dhl8x/8ASn5Y/wBNBZ0UruivNl7qfw0borzZe6n8NA1SuU+Jf2UborzZe6n8NLZRygphcYZeDVT+Ggs6KV3RXmy91P4aN0V5svdT+GgaopXdFebL3U/ho3RXmy91P4aAyf5h6WX/ACPTVVtitoVSCso3yQ8VNwM7EHzeQimN0V5svdT+GgaopXdFebL3U/ho3RXmy91P4aAj+8P0UfxS0VHZZw08hAYb3H5yunpl5wF9doPace/RR++Ws2mVLQglRpsTRZQs0V80ceNrPO8KMRmiFAYu5U3EgC4i/SNIovncHSM0guPp0y0uuxuyiPNCyWfN487m82mHOAXB7rvOAAAPoAHJQWIrtFFArbeGPpR7mpqlbbwx9KPc1NUBRRRQeX4D7KhyfxMfRr7hUz8B9lQ5P4mPo19woGKKKKApSx+fN0o/xxU3Slj8+bpR/jioG6KKKApWXj4/4P746apWXj4/4P746BqiiigKVynxL+ymqVynxL+ygaoqqyjbLQryCOHEqwl0IXEWkANy3Y1v03DDovvvxClLLb7aSMdniUZ3Cbr783jhGIeVzHmOnV8A4CGgorPPly2AkDJZIBcBs/HpCC8NddwPwL+fDcNNRTZatocFbBemZDmMkFhKTpjx4gDcLuBeXhoNNRWbbLNtJI2jm1uUh8SzkG/SMAZMRuI9IAuJvPBXVy5bMRG5puvOEmVV0KwAv0HhGn/jTw0GjorO2fLdsJIbJ5QXMQ2NTdcGwrd+I4govvA0k8FxMliyra2mVZLEEjbCMQkDFD5RZjo0i7ALtGkNpN4oLSP7w/RR/FLRRH94foo/ilooIzaUW0PjdVvijuxELf5UvLU26MWuj7a/OpytcwDkFBDujFro+2vzo3Ri10fbX51NgHIKMA5BQIWy3x3x77HxoPnryN+dM7oxa6Ptr86nwDkFcwDkFBDujFro+2vzo3Ri10fbX51NgHIKMA5BQLvlCK477Hwc9fnUNgyhHmY99j4tfxLyD86ewDkFGAcgoId0YtdH21+dG6MWuj7a/OpsA5BRgHIKCHdGLXR9tfnStkt8eOXfY+NH4l1cX51YYByCu4ByCgg3Ri10fbX50boxa6Ptr86mwDkFGAcgoId0YtdH21+dLSW+PPoc7H5j/jXlT86fwDkFdwDkFBBujFro+2vzo3Ri10fbX51NgHIKMA5BQQ7oxa6Ptr86Wyjb4zC4EsfBz1+dP4ByCu4ByCgg3Ri1sfbX50boxa6Ptr86mwDkFGAcgoId0YtdH21+dG6MWtj7a/OpsA5BRgHIKCHdGLXR9tfnRujFrY+2vzqbAOQUYByCgh3Ri1sfbX50boxa6Ptr86mwDkFGAcgoFLNOrTuVZW3uPzSGu0y8lFOAUUH/2Q=="/>
          <p:cNvSpPr>
            <a:spLocks noChangeAspect="1" noChangeArrowheads="1"/>
          </p:cNvSpPr>
          <p:nvPr/>
        </p:nvSpPr>
        <p:spPr bwMode="auto">
          <a:xfrm>
            <a:off x="79375" y="-727075"/>
            <a:ext cx="1828800" cy="1504950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Oval 6"/>
          <p:cNvSpPr/>
          <p:nvPr/>
        </p:nvSpPr>
        <p:spPr bwMode="auto">
          <a:xfrm>
            <a:off x="8915400" y="152400"/>
            <a:ext cx="990600" cy="990600"/>
          </a:xfrm>
          <a:prstGeom prst="ellips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11" name="Rectangle 10"/>
          <p:cNvSpPr>
            <a:spLocks noChangeArrowheads="1"/>
          </p:cNvSpPr>
          <p:nvPr/>
        </p:nvSpPr>
        <p:spPr bwMode="gray">
          <a:xfrm>
            <a:off x="1066800" y="1295400"/>
            <a:ext cx="8229600" cy="533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9" tIns="36571" rIns="36571" bIns="36571"/>
          <a:lstStyle/>
          <a:p>
            <a:pPr marL="458788" lvl="1" indent="-457200" algn="just" defTabSz="1019175" eaLnBrk="0" hangingPunct="0">
              <a:buClr>
                <a:schemeClr val="folHlink"/>
              </a:buClr>
              <a:buSzPct val="125000"/>
              <a:buFont typeface="Wingdings" pitchFamily="2" charset="2"/>
              <a:buChar char="§"/>
            </a:pPr>
            <a:endParaRPr lang="en-US" sz="2400" b="1" dirty="0" smtClean="0">
              <a:solidFill>
                <a:schemeClr val="bg2"/>
              </a:solidFill>
            </a:endParaRPr>
          </a:p>
          <a:p>
            <a:pPr marL="458788" lvl="3" indent="-457200" algn="just" defTabSz="1019175" eaLnBrk="0" hangingPunct="0">
              <a:buClr>
                <a:schemeClr val="folHlink"/>
              </a:buClr>
              <a:buSzPct val="125000"/>
              <a:buFont typeface="Wingdings" pitchFamily="2" charset="2"/>
              <a:buChar char="§"/>
            </a:pPr>
            <a:r>
              <a:rPr lang="en-US" sz="2300" b="1" dirty="0" smtClean="0">
                <a:solidFill>
                  <a:schemeClr val="accent1"/>
                </a:solidFill>
                <a:sym typeface="Wingdings" pitchFamily="2" charset="2"/>
              </a:rPr>
              <a:t>Operationally?</a:t>
            </a:r>
          </a:p>
          <a:p>
            <a:pPr marL="458788" lvl="3" indent="-457200" algn="just" defTabSz="1019175" eaLnBrk="0" hangingPunct="0">
              <a:buClr>
                <a:schemeClr val="folHlink"/>
              </a:buClr>
              <a:buSzPct val="125000"/>
              <a:buFont typeface="Wingdings" pitchFamily="2" charset="2"/>
              <a:buChar char="§"/>
            </a:pPr>
            <a:endParaRPr lang="en-US" sz="2300" b="1" dirty="0" smtClean="0">
              <a:solidFill>
                <a:schemeClr val="accent1"/>
              </a:solidFill>
              <a:sym typeface="Wingdings" pitchFamily="2" charset="2"/>
            </a:endParaRPr>
          </a:p>
          <a:p>
            <a:pPr marL="458788" lvl="3" indent="-457200" algn="just" defTabSz="1019175" eaLnBrk="0" hangingPunct="0">
              <a:buClr>
                <a:schemeClr val="folHlink"/>
              </a:buClr>
              <a:buSzPct val="125000"/>
              <a:buFont typeface="Wingdings" pitchFamily="2" charset="2"/>
              <a:buChar char="§"/>
            </a:pPr>
            <a:r>
              <a:rPr lang="en-US" sz="2300" b="1" dirty="0" smtClean="0">
                <a:solidFill>
                  <a:schemeClr val="accent1"/>
                </a:solidFill>
                <a:sym typeface="Wingdings" pitchFamily="2" charset="2"/>
              </a:rPr>
              <a:t>Financially?</a:t>
            </a:r>
          </a:p>
          <a:p>
            <a:pPr marL="458788" lvl="3" indent="-457200" algn="just" defTabSz="1019175" eaLnBrk="0" hangingPunct="0">
              <a:buClr>
                <a:schemeClr val="folHlink"/>
              </a:buClr>
              <a:buSzPct val="125000"/>
              <a:buFont typeface="Wingdings" pitchFamily="2" charset="2"/>
              <a:buChar char="§"/>
            </a:pPr>
            <a:endParaRPr lang="en-US" sz="2300" b="1" dirty="0" smtClean="0">
              <a:solidFill>
                <a:schemeClr val="accent1"/>
              </a:solidFill>
              <a:sym typeface="Wingdings" pitchFamily="2" charset="2"/>
            </a:endParaRPr>
          </a:p>
          <a:p>
            <a:pPr marL="458788" lvl="3" indent="-457200" algn="just" defTabSz="1019175" eaLnBrk="0" hangingPunct="0">
              <a:buClr>
                <a:schemeClr val="folHlink"/>
              </a:buClr>
              <a:buSzPct val="125000"/>
              <a:buFont typeface="Wingdings" pitchFamily="2" charset="2"/>
              <a:buChar char="§"/>
            </a:pPr>
            <a:r>
              <a:rPr lang="en-US" sz="2300" b="1" dirty="0" smtClean="0">
                <a:solidFill>
                  <a:schemeClr val="accent1"/>
                </a:solidFill>
                <a:sym typeface="Wingdings" pitchFamily="2" charset="2"/>
              </a:rPr>
              <a:t>Describe an example – either one that has actually happened, or one that you anticipate happening</a:t>
            </a:r>
          </a:p>
          <a:p>
            <a:pPr marL="458788" lvl="3" indent="-457200" algn="just" defTabSz="1019175" eaLnBrk="0" hangingPunct="0">
              <a:buClr>
                <a:schemeClr val="folHlink"/>
              </a:buClr>
              <a:buSzPct val="125000"/>
              <a:buFont typeface="Wingdings" pitchFamily="2" charset="2"/>
              <a:buChar char="§"/>
            </a:pPr>
            <a:endParaRPr lang="en-US" sz="2300" b="1" dirty="0" smtClean="0">
              <a:solidFill>
                <a:schemeClr val="accent1"/>
              </a:solidFill>
              <a:sym typeface="Wingdings" pitchFamily="2" charset="2"/>
            </a:endParaRPr>
          </a:p>
          <a:p>
            <a:pPr marL="458788" lvl="3" indent="-457200" algn="just" defTabSz="1019175" eaLnBrk="0" hangingPunct="0">
              <a:buClr>
                <a:schemeClr val="folHlink"/>
              </a:buClr>
              <a:buSzPct val="125000"/>
              <a:buFont typeface="Wingdings" pitchFamily="2" charset="2"/>
              <a:buChar char="§"/>
            </a:pPr>
            <a:r>
              <a:rPr lang="en-US" sz="2300" b="1" dirty="0" smtClean="0">
                <a:solidFill>
                  <a:schemeClr val="accent1"/>
                </a:solidFill>
                <a:sym typeface="Wingdings" pitchFamily="2" charset="2"/>
              </a:rPr>
              <a:t>What could/would you do?</a:t>
            </a:r>
          </a:p>
          <a:p>
            <a:pPr marL="458788" lvl="3" indent="-457200" algn="just" defTabSz="1019175" eaLnBrk="0" hangingPunct="0">
              <a:buClr>
                <a:schemeClr val="folHlink"/>
              </a:buClr>
              <a:buSzPct val="125000"/>
              <a:buFont typeface="Wingdings" pitchFamily="2" charset="2"/>
              <a:buChar char="§"/>
            </a:pPr>
            <a:endParaRPr lang="en-US" sz="2300" b="1" dirty="0" smtClean="0">
              <a:solidFill>
                <a:schemeClr val="accent1"/>
              </a:solidFill>
              <a:sym typeface="Wingdings" pitchFamily="2" charset="2"/>
            </a:endParaRPr>
          </a:p>
          <a:p>
            <a:pPr marL="458788" lvl="3" indent="-457200" algn="just" defTabSz="1019175" eaLnBrk="0" hangingPunct="0">
              <a:buClr>
                <a:schemeClr val="folHlink"/>
              </a:buClr>
              <a:buSzPct val="125000"/>
              <a:buFont typeface="Wingdings" pitchFamily="2" charset="2"/>
              <a:buChar char="§"/>
            </a:pPr>
            <a:r>
              <a:rPr lang="en-US" sz="2300" b="1" dirty="0" smtClean="0">
                <a:solidFill>
                  <a:schemeClr val="accent1"/>
                </a:solidFill>
                <a:sym typeface="Wingdings" pitchFamily="2" charset="2"/>
              </a:rPr>
              <a:t>What creative ideas or solutions might you be able to offer to the CFO Division?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8867900" y="297875"/>
            <a:ext cx="106680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Capital Markets Finance</a:t>
            </a:r>
            <a:endParaRPr lang="en-US" dirty="0"/>
          </a:p>
        </p:txBody>
      </p:sp>
    </p:spTree>
    <p:custDataLst>
      <p:tags r:id="rId1"/>
    </p:custDataLst>
  </p:cSld>
  <p:clrMapOvr>
    <a:masterClrMapping/>
  </p:clrMapOvr>
  <p:transition xmlns:p14="http://schemas.microsoft.com/office/powerpoint/2010/main">
    <p:cut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 bwMode="auto">
          <a:xfrm>
            <a:off x="1014350" y="1421075"/>
            <a:ext cx="8534400" cy="4955975"/>
          </a:xfrm>
          <a:prstGeom prst="rect">
            <a:avLst/>
          </a:prstGeom>
          <a:solidFill>
            <a:srgbClr val="FFFF00">
              <a:alpha val="50000"/>
            </a:srgbClr>
          </a:solidFill>
          <a:ln w="38100" cap="flat" cmpd="sng" algn="ctr">
            <a:solidFill>
              <a:srgbClr val="FFC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24577" name="Rectangle 2"/>
          <p:cNvSpPr>
            <a:spLocks noGrp="1" noChangeArrowheads="1"/>
          </p:cNvSpPr>
          <p:nvPr>
            <p:ph type="title"/>
          </p:nvPr>
        </p:nvSpPr>
        <p:spPr>
          <a:xfrm>
            <a:off x="762000" y="838200"/>
            <a:ext cx="8153400" cy="304800"/>
          </a:xfrm>
        </p:spPr>
        <p:txBody>
          <a:bodyPr/>
          <a:lstStyle/>
          <a:p>
            <a:pPr lvl="1"/>
            <a:r>
              <a:rPr lang="en-US" sz="2300" dirty="0" smtClean="0"/>
              <a:t>Case Study C:  Part 5 – What can you do as a leader?</a:t>
            </a:r>
          </a:p>
        </p:txBody>
      </p:sp>
      <p:sp>
        <p:nvSpPr>
          <p:cNvPr id="93188" name="AutoShape 4" descr="data:image/jpg;base64,/9j/4AAQSkZJRgABAQAAAQABAAD/2wCEAAkGBhQSDhQQEA8QEBQUEBkQFA4QFhEQFBAQFBwWFRUQFRQYHycqFxkjGRUTHy8iIycsLCwsFR4xQTIqNSYrLSkBCQoKBQUFDQUFDSkYEhgpKSkpKSkpKSkpKSkpKSkpKSkpKSkpKSkpKSkpKSkpKSkpKSkpKSkpKSkpKSkpKSkpKf/AABEIAMwA9wMBIgACEQEDEQH/xAAbAAACAwEBAQAAAAAAAAAAAAAABAMFBgECB//EAEkQAAIBAQMEDQkIAQMDBQEAAAECAwAEERIFEyFTBhQVIzEzUVJzkZKT0iIyQVRxsbLR0wc0QmFiY3Kis0OBoSR0dRY1NsHCCP/EABQBAQAAAAAAAAAAAAAAAAAAAAD/xAAUEQEAAAAAAAAAAAAAAAAAAAAA/9oADAMBAAIRAxEAPwD7PLaXzhRERrkViWcp5xYXABTzf+a5nJtXF3j/AE67H94foo/ilpqgUzk2ri7x/p0ZybVxd4/06booFM5Nq4u8f6dGcm1cXeP9Om6KBTOTauLvH+nRnJtXF3j/AE6booFM5Nq4u8f6dGcm1cXeP9Om6KBTOTauLvH+nRnJtXF3j/TrL5O+0FpctS5KNjwtCpkefPBlzVyFXC4LyTnI9HovOnRV3YNl1kmWV4bVFKsK4pShLZpdOluTzT1Ggdzk2ri7x/p0ZybVxd4/06rZNnNhWBLQ1tgELsUSYtcjuvnKG4CR/wDR5KnynssslnEZtFqihEq4o84cOcGjzb+HhGj86BvOTauLvH+nRnJtXF3j/TqOfL0CWiOzPMizSrijhN+J106VHpHknqqHZRsijsNjltc2IpGAcK6WdmIVUH5liBQNZybVxd4/06M5Nq4u8f6dYXYr9sAtNshslpsEtia0xCazu7iRZkYMVbzVuDBWuOm8i6qu1f8A9ARLLI0eT55bLHMIXtiuo8psWErGRpvCORew0D0UH07OTauLvH+nRnJtXF3j/TrH7LPtjsNiiVlfbUsiJIlniNzZuRQ6u7Eb2CjAgHSbxo9Ij2WfbNZLEqLcbROwUtZYmF8IYBt8e64EXjRw/kKDaZybVxd4/wBOjOTauLvH+nTQNdoFM5Nq4u8f6dGcm1cXeP8ATpuigUzk2ri7x/p0ZybVxd4/06booFM5Nq4u8f6dGcm1cXeP9Om6KBTOTauLvH+nRnJtXF3j/TpuigWs1oYuyOiqQqterFwQxYelRd5v/NFcj+8P0UfxS0UBH94foo/ilpqlY/vD9FH8UtNUBRRRQFFFFAUUUUBRRRQfJtjv/wA5yh/2Q+Gx1P8AZMdGWf8AyU3/AOqNhViefZPlDKcattUxbWSZlZBLKogVgmIDEAYXvI/Llq+H2evFPa3sVuazJbWMk0LRJNhka/FJC5YYCcR4Qw6hQfNNkf8A8Lyb/wB2nvtNfTPtY2ObcyTMqm6WAbbhN9xDxXkge1cS+0jkrxsk+zGO05Ns+TYp2s8NnZXBwCV3KBlUkkgaS7k6NJPopj/0VO00882UM7JLYmsKnMIiQxu2JmCB/KY/meTkuoEfs0tj5QUZXnW5mgWxwryLHcbTLcDozk4YfxiWtXsgyLBarM0FrQPCbnZWZox5BxAllIIAIv4fRSOwfYtudYlsYmz6ozFHKCMgOS5U3E3+UW06OGvOz/ItoteTZrLZJEiklATHIWVc2SM4pKgnSt44PTQfKNg9lGU9kBtkCFLFk6IQ2cHEd7jVo7OgLabz5chvvI4Dw18/yd/7Ba//ACFl+C019m+znYRlbJ7xwSTZP2mHd5o4gxlkLKbjiMYvN+AcPAt1Ze0fYdlBBNYoJrIbJLaUnz0hkEqiISKgKheG6Q3gX3kDSNNAl9p2S4l2O5JtCwxrK8MKvMqqHdRZxcGYC9rsK3X8F1TfbrkyJLPk2ZIY0kkRs5KiqrS3JBdjYDyrrzw8tbn7QvsymteS7HYbJJENq4VxTlkxIkebB8lW0nQaj+077NrTlGz2KKzvZ1azKwcys6gkrGow4UN+lDw3eig+lrwV2uCu0BRRRQFFFFAUUUUBRRRQKx/eH6KP4paKI/vD9FH8UtFBE8xW0PdG771HpUxi7ypecwqXbjery9cHjoRv+ofoo/ilpLZRY89Y5IlMt7YQDCY8YuZTiukIV1F17KfOUMum+6gd22/q8vXB46NuN6vL1weOvncOxm1XPnLLGpkzUxWJohEjR2aeJogpbyTnGW4C8DH51wJGm2FZJls2ejm0qrJFBKSpaSzIt8eO4+egbNknhzd/poL7bjery9cHjo243q8vXB46ZxjlFUmzHJW2rC9mUm+Ro1xIQGjGcQmUEkaVALcuigstuN6vL1weOjbjery9cHjr53FsZtmcd7TDtgSSvJLEjxYZJpbJCiugZh5CTCdBfcRjVrvSHtj2xy1w2yB5TnUJU2h2dTdaYbKIBaUBN5Ehd1bRffGhu0mg223G9Xl64PHRtxvV5euDx0xjHKK7jHKKBbbbery9cHjo22/q8vXB46zuXtjQmyhFKIUZTZ5xLKSuic7W2uTeb9Gae64XDTzjfl//AEraTHZcVlJzUMEMqE2aQsYbLaonNzOAymWWIAk+jFoABoPpW3G9Xl64PHRtxvV5euDx1NEwwjgGgaL77vyvr3jHKKBbbjery9cHjo22/q8vXB46yez3Y5NaZFay6C9knsssiuEZL83PAwvIv32HBo9ExqqtOxm0GYytZsRlsV7qu12CWyV7TK6B2cFcBmj8pb8QQLwUH0Hbjery9cHjo243q8vXB46zmwTJMsAkzq5lGis6LAWVrpo4gs81ykhcTYRoOnNk+nTrMY5RQLbcb1eXrg8dG239Xl64PHXu1QJIhjkCurC5kPAw5DyivmE2wu07TjWODNynJ1viluaC9rRNm1gQnHdeVQjEOD0kUH0zbjery9cHjo243q8vXB46yWxzIU0dsxPFgRbRaZw+KMqUnWEIoAN+IYXBF1wwfmL9tjHKKBbbjery9cHjo22/q8vXB46YxjlFfPdkWxSeaXKEixK2cezmAERFnwizrI6uXGFQElBQ3Yr7+Sg3W3G9Xl64PHRtxvV5euDx1kth+RZ4bYzzxYFFmkhxhozGzm1TyjNqGJSMxyIVU+aLlvJWtrjHKKBfbjery9cHjo243q8vXB46ZxjlFZjZ3k2SeFBAhkdHMixnNtDI2BkzVoVmXyGDsMS6UNzeigvttt6vL1weOjbjery9cHjr59lLY5aZXtDtZseeezWlAXibMyJaFE0VzPdi2qkIJGgiMjhYg/RbNCkaLGgCqihFUcCqouAH+1AvZZS08l6Mm9x6GwG/TLzWNFSRH/qH6KP4paKCM2ZGtD40Rroo/OUNd5UvLU250Wpj7C/KvMf3h+ij+KWmqBfc6LUx9hflRudFqY+wvypiigrrZk+O+Peo+NH4F5G/KmdzotTH2F+Vebbwx9KPc1NUC+50Wpj7C/Kjc6LUx9hflTFFAq+TorjvMXBzF+VQ2DJ8eZj3qPi1/AvIPyp5+A+yocn8TH0a+4UBudFqY+wvyo3Oi1MfYX5UxRQL7nRamPsL8qVsmT48cu9R8aPwLq4vyqypSx+fN0o/xxUHvc6LUx9hflRudFqY+wvypiigX3Oi1MfYX5UtJk+PPoM1H5j/AIF5Y/yqxpWXj4/4P746D1udFqY+wvyo3Oi1MfYX5UxRQL7nRamPsL8qWyjk+MQvvUfBzF+VWNK5T4l/ZQLSmBbQlnMK45EaRd6GHCmENe911/lDRw03udFqY+wvypa15NdrXDOsiKsSupjKMzPnMN5DhgFuwj8J9NWNAvudFqY+wvyrm50Wpj7C/KmaKCpgssawu+11kIkluREjLNdI9yi+4dZAr3kzMzxCRYFXynQo6IGSSNmjdDdeLwysLwSDdoJFdzLvZpEhlEMjPKFlK5zAxkfysN4vu9tS5GsBhgWIlDhvF8augN5JvON3JY33lixJJJ9NBLudFqY+wvyo3Oi1MfYX5UxRQJWaBVncIqrvUfmgLfpl5KK9x/eH6KP4paKAj+8P0UfxS01Ve9mDWhyS4uiTzXkT8UvoUi+oMmzQzhs29ovRgrJI1rhdSQGF6SEG4ggg3XUFvRSu5y86XvZ/FRucvOl72fxUBbeGPpR7mpqqy2ZPW+PypeNA42fkb9Vcvhz+1s7Jnc0Zs3nbReIwQuI+Vo0kDTw6eQ0FpRSu5y86XvZ/FRucvOl72fxUDD8B9lQ5P4mPo19wrw+TluPlS8Gtn8VVrSwwwQmRrR5YVFWM2yZmbAXICR4j5qseD0UF7RSi5PUi/FN/vLOP+MVd3OXnS97P4qBqlLH583Sj/HFXdzl50vez+KkM1HGJ5JJJFRJLyxln0DNxcjaT/wA0FzRSFmsySIHU2gAi8B3tUTf7o5BH+4qXc5edL3s/ioGqVl4+P+D++Ojc5edL3s/ipaTJ655Bil8x/wDVn5Y/1UFnRVPHaIWtG18VqElzMA+3UVlQqGZZGuVgC68BPnCntzl50vez+KgapXKfEv7KNzl50vez+Klso5PUQucUvBrZ/FQWdFU9qtMEcqxPLMHbDoD2pgucYpHjcG5MTgquIi8i4U9ucvOl72fxUDVcpbc5edL3s/io3OXnS97P4qAyd5h6WX/I9NVTJHFFA8skkqqskhLZ2c6BI40ANeSdAuGkk1PYFimjzkbzFbyumS0oyspKsrKzAqQQRcRQWVFK7nLzpe9n8VG5y86XvZ/FQEf3h+ij+KWio7LAFnkALHe4/OZ39MvOJurtB6Xj5LuHNJdfy3y0lkDJskbTySiNDNKJc1E7zKpwqrNnHVSSSOC64AC7009H94foo/ilpqgKKKKBW28MfSj3NVbZ9jWC37aWWQqyTY43IN8kpgII8m/CFhu0nRhQDQKsrbwx9KPc1NUBRRRQeX4D7KoMsZJe0WKJI0jZwgKSSSSwmBzGUEyNGpJYYjovF950ir9+A+yocn8TH0a+4UEsSkKATiIABY6MRHpr3RRQFUeVcmG0Q2iJSt+fjkAYsqsYhZ5QjFdIDYMJI0gG/TV5Slj8+bpR/jioIcgWB4bOI5CCcbsFVmdY0d2dIVZgCyopCgkDzeADQLGiigKVl4+P+D++OmqVl4+P+D++OghsuTmFpltEhUllWKIC/e4VGI33/iaRmJu9Cx8lWFFFAUrlPiX9lNUrlPiX9lBTZY2OSS22O0KUAXM3MWdWjzUrSSDNgXTB1KqMZGAriGmtHRRQFFFFBVS2ITWWWIqHxPLcpZovLEjlTnFBKEMAcQBIuvr1seyU0EJV2xO8rzOcTP5TknDiYAtcMIvuF919w4Azk7zD0sv+R6aoCiiigVj+8P0UfxS0UR/eH6KP4paKCJoS1oe6R03qPQojN/lS85TUu1G18vVD4KE49+ij+KWsFbYGay3CK1OBugIQ8dqZ1tkkoexS+WMQOAvhkOhb+EGg3u1G18vVD4KNqNr5eqHwUyvBprtBWWyytfHv8vGj0Q8jfopnaja+Xqh8FFt4Y+lHuaqdyBb7ViFpwtYogWUWrDiUzYhEyi4NhePRGcRJ5RQXG1G18vVD4KNqNr5eqHwUpsVJ3PswYOrCzRqyyK6OHVQrBlYAg3g8NWtAo9ka47/LwckPgqGwWVszHv8ALxa+iHkH6KffgPsrPZe+4QECYkTWV7oRM5uWSJnLLECSuAOSCLtHsoLnaja+Xqh8FG1G18vVD4KpMlopynM6QyQ4Y2jYmKZBanLIzTNIVwsFuCppJ8qT8N1+loFdqNr5eqHwUrZLK2Obf5eNHoh1cX6KtKrZLsFpxY7sRvzecx3ZqPzc35V/8dNAxtRtfL1Q+Cjaja+Xqh8FZGzw4hkwiGXPpHCJC0FoSQRqjKwM7ACNVbGWQ6X8kaL1v3FArtRtfL1Q+ClpLK2fTf5fMf0Q8sf6Ks6Vl4+P+D++OgNqNr5eqHwUbUbXy9UPgrP2mKZrZa0s+cUvHZ/LlNpjjuUy55YZSrBWwsnmaAWvuvvqz2IxOuTrMsqlHWzorIS5KkKBccQBvuuvvHDfw8NA7tRtfL1Q+Clso2Vsy+/y8HJD4Ks6VynxL+ygNqNr5eqHwUbUbXy9UPgqpyyP+vg4+42edGZFndFxBMN4UFQ2hrr9Po9NR7BYM3Z3jCAIkgRJhDJZWtCiOO+V45NOLFiUn04KC62o2vl6ofBRtRtfL1Q+CmqKCssFlbAd/l42T0Q6x/0UztRtfL1Q+CoobsxJixXY5r8GPFdjkvw4PKvu4MOnk01jbAJg1gYxO+CyWSNY54J2Ky42jtjlzdmZEQI2JxewW4X3m8NvtRtfL1Q+Cjaja+Xqh8FNUUCNliKzyXuz73HpbALtMvNArte4/vD9FH8UtFAR/eH6KP4paapBse2HwYOKjvxYudLyVLv37X96Bqild+/a/vRv37X96AtvDH0o9zU1VbbM7fHxXGjn8jUxv37X96Bqild+/a/vRv37X96Bh+A+yocn8TH0a+4V4fO3HiuD9dQ2DO5mPiuLXn8goLGild+/a/vRv37X96BqlLH583Sj/HFXd+/a/vS1kzuObiuNHP1cVBZ0Urvv7X96N+/a/vQNUrLx8f8AB/fHRv37X96XlzufTivMfn8sdBZUUrv37X96N+/a/vQNUrlPiX9lG/ftf3pfKOdzL8VwfroLKild+/a/vRv37X96Bqild+/a/vRv37X96Ayf5h6WX/I9NVWZPzuA8VxsnP1j0zvv7X96Bqild+/a/vRv37X96Aj+8P0UfxS0VHZcWfkx4eKjuw38svLXaD2nHv0UfxS1lpbbJJY2C2yQzm3TWWF4jEuJzI6pjUKb1jjUuRw4YzWpj+8P0UfxS1LFZEXzY0XTi8lVGm66/R6btFB7QXAC8m4XXm68/mbq9UUUCtt4Y+lHuas3l/K8iS2tEtAF0FkMaEoubaaaSJ/KuJQMAgLkHBeGuN1x0lt4Y+lHuapGsaEsTGhLLhYlVJZToKk+kXAaPyoK3Ypa2ksitIzMwkljJYqxGblkQJjGh8IULi/Fhv8ATVxXmOMKoVQFAFwVQAABwAAcAr1QeX4D7KosrWxorHZ3WbNb/ZUYnB5cbyRI8flcF6s3Bp0VevwH2UrZbOrwRh0Vxm1NzAML8N19x9poKLI1un3RkhlZ2GCaRhigeNFEqLZcAQ4o74i4IcC9ozdfcTWpqOOBVLFVVSxxMVABZuC83cJqSgKqLbaESK0vLM0CBwWlQgMowQ6F0HSeAAC8k6NN1W9JWeIM0ysoYGUXqwBB3uLhBoMfZMrziWIPaWLA2YLBihfOx2iedJBIUG+OkKLeVNwaFjwE372oEsUYKlY4wUvCkKowBvOC6NF/puqegKVl4+P+D++OmqVl4+P+D++OgzNuykwktpgtrYYrNIWLtC4jtS3FViUjQEW9WvvF7qNLK12oyfNjhje8NijVsQuN5IGnRQbBHexzUd7C5jhW9hw3E3adIHVU0cYUBVAUDQFAAAHIAKD1SuU+Jf2U1SuU+Jf2UFRlu2XW2COO0sj3h5IS0YjFm8oM7qwvLMblW433reNCvXvYjazJHK4naeIzbw8jI7mLAl7EqB5LOJGW/ThYcAIAuJLIjMGaNGYcDMqkj06CeCuwWVEvCIiXm8hFC3nlN1BLRRRQVjzKllleSUwopmLTAgGNQ8l7gkG672Vm0yhIIrLIbW+I2tUzbSQs+1pZykayRBd8coVQ6QU0t5RU4tZYkBjYMAQZZQQdIIzj6CK9pk+JSpWKMFb8JCqCuLhwm7Rf+VAxRRRQKx/eH6KP4paKI/vD9FH8UtFBE0rC0PhjL71HpvUXeVLy1Ltl9Se0leWYCWQsbgIUJOkXC+a81hJbfM1ikksUkkkJnzoAtDPPCiiERxMzksodhJIy33gMF0XtcG92xJqD2ko2xJqD2kpkV2grbZaHvj3k8aPxJyNTG2X1J7SUW3hj6Ue5qymW7Sj2u0Rx202ZkszJK0k8qrnHERQpFjGBUQEl0w8Zwk47g1e2H1J7SUbYk1B7SUnsVtOOyI1x8+RQxklnEgV3USrJISzIwAYXngYXXi41bUCj2h7jvJ4OclQ2C0PmY95PFr+JOQU+/AfZWW2U2pFsESGVoZJFCQyiWSzrHKU46RlIBVBe2Fr7yAACSKDQ7Yk1J7SUbYk1B7SVnNjmUXa3zLI2cLGYkB5f+njilVYFaInCokiZXVgAThY+VebtbQK7Yk1B7SUtZLQ+ObeTxo/Emriqzqkynao44LU85cRhxizbPG58iEBVZSCCSQOEDTpIF9BY7ZfUntJRtiTUHtJWXyVAZGsaraJZGVTPLLFaJ5IhCjMI7OSGwynGwTEwJZYHv03VsqBXbEmoPaSl5LQ+fTeT5j/iTljqypWXj4/4P746A2y+pPaSjbEmpPaSsTlnKKma0Zi0sgWSOKVJJ5rjJn487IVxXwQKt8ZZbgc4dFygnVbFJmawws5ctg0s5LFriQGDHS6kAFWOkrcTpJoHNsSag9pKXyjaHzL7yeDnJVlSuU+Jf2UBth9Se0lG2H1J7SVQ7IrSu3YIY7QYJyMeJpXWPNnGqpmS2GV3fRdcSApN4IW/mwSWRklxPnIwyKkmee1q8gRc80czgYlLXcGgHFwG8AL/AGxJqD2ko2xJqD2kpqigrMn2h8B3k8bJ+JNY9M7ZfUntJS+NBZpDK5RMcuNwzR4Vzj3tjUgr7QRdWIsVukvjBnlJEsYsuGWZ0nvtjraMBJ3+MQZsXvfcl5Fw00G/2xJqD2ko2xJqD2kpqigRssjGeTEmDeo9F4N+mXkrte4/vD9FH8UtFAR/eH6KP4paapB7SFtD3hzfFH5qSP8Ail9Kg1LuivNl7qfw0DVFK7orzZe6n8NG6K82Xup/DQFt4Y+lHuamqrLZlBb4/Jl40Hip+Rv00zuivNl7qfw0DVFK7orzZe6n8NG6K82Xup/DQMPwH2VDk/iY+jX3CvD5RW4+TLwaqfw1DYMoLmY/Jl4tf9KfkH6aCxopXdFebL3U/ho3RXmy91P4aBqlLH583Sj/ABxV3dFebL3U/hpWyZQXHL5MvGj/AEp9XF+mgtKKV3RXmy91P4aN0V5svdT+GgapWXj4/wCD++OjdFebL3U/hpaTKC59Dhl8x/8ASn5Y/wBNBZ0UruivNl7qfw0borzZe6n8NA1SuU+Jf2UborzZe6n8NLZRygphcYZeDVT+Ggs6KV3RXmy91P4aN0V5svdT+GgaopXdFebL3U/ho3RXmy91P4aAyf5h6WX/ACPTVVtitoVSCso3yQ8VNwM7EHzeQimN0V5svdT+GgaopXdFebL3U/ho3RXmy91P4aAj+8P0UfxS0VHZZw08hAYb3H5yunpl5wF9doPace/RR++Ws2mVLQglRpsTRZQs0V80ceNrPO8KMRmiFAYu5U3EgC4i/SNIovncHSM0guPp0y0uuxuyiPNCyWfN487m82mHOAXB7rvOAAAPoAHJQWIrtFFArbeGPpR7mpqlbbwx9KPc1NUBRRRQeX4D7KhyfxMfRr7hUz8B9lQ5P4mPo19woGKKKKApSx+fN0o/xxU3Slj8+bpR/jioG6KKKApWXj4/4P746apWXj4/4P746BqiiigKVynxL+ymqVynxL+ygaoqqyjbLQryCOHEqwl0IXEWkANy3Y1v03DDovvvxClLLb7aSMdniUZ3Cbr783jhGIeVzHmOnV8A4CGgorPPly2AkDJZIBcBs/HpCC8NddwPwL+fDcNNRTZatocFbBemZDmMkFhKTpjx4gDcLuBeXhoNNRWbbLNtJI2jm1uUh8SzkG/SMAZMRuI9IAuJvPBXVy5bMRG5puvOEmVV0KwAv0HhGn/jTw0GjorO2fLdsJIbJ5QXMQ2NTdcGwrd+I4govvA0k8FxMliyra2mVZLEEjbCMQkDFD5RZjo0i7ALtGkNpN4oLSP7w/RR/FLRRH94foo/ilooIzaUW0PjdVvijuxELf5UvLU26MWuj7a/OpytcwDkFBDujFro+2vzo3Ri10fbX51NgHIKMA5BQIWy3x3x77HxoPnryN+dM7oxa6Ptr86nwDkFcwDkFBDujFro+2vzo3Ri10fbX51NgHIKMA5BQLvlCK477Hwc9fnUNgyhHmY99j4tfxLyD86ewDkFGAcgoId0YtdH21+dG6MWuj7a/OpsA5BRgHIKCHdGLXR9tfnStkt8eOXfY+NH4l1cX51YYByCu4ByCgg3Ri10fbX50boxa6Ptr86mwDkFGAcgoId0YtdH21+dLSW+PPoc7H5j/jXlT86fwDkFdwDkFBBujFro+2vzo3Ri10fbX51NgHIKMA5BQQ7oxa6Ptr86Wyjb4zC4EsfBz1+dP4ByCu4ByCgg3Ri1sfbX50boxa6Ptr86mwDkFGAcgoId0YtdH21+dG6MWtj7a/OpsA5BRgHIKCHdGLXR9tfnRujFrY+2vzqbAOQUYByCgh3Ri1sfbX50boxa6Ptr86mwDkFGAcgoFLNOrTuVZW3uPzSGu0y8lFOAUUH/2Q=="/>
          <p:cNvSpPr>
            <a:spLocks noChangeAspect="1" noChangeArrowheads="1"/>
          </p:cNvSpPr>
          <p:nvPr/>
        </p:nvSpPr>
        <p:spPr bwMode="auto">
          <a:xfrm>
            <a:off x="79375" y="-727075"/>
            <a:ext cx="1828800" cy="1504950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" name="Rectangle 7"/>
          <p:cNvSpPr>
            <a:spLocks noChangeArrowheads="1"/>
          </p:cNvSpPr>
          <p:nvPr/>
        </p:nvSpPr>
        <p:spPr bwMode="gray">
          <a:xfrm>
            <a:off x="1066800" y="1143000"/>
            <a:ext cx="8229600" cy="533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9" tIns="36571" rIns="36571" bIns="36571"/>
          <a:lstStyle/>
          <a:p>
            <a:pPr marL="458788" lvl="1" indent="-457200" algn="just" defTabSz="1019175" eaLnBrk="0" hangingPunct="0">
              <a:buClr>
                <a:schemeClr val="folHlink"/>
              </a:buClr>
              <a:buSzPct val="125000"/>
              <a:buFont typeface="Wingdings" pitchFamily="2" charset="2"/>
              <a:buChar char="§"/>
            </a:pPr>
            <a:endParaRPr lang="en-US" sz="2400" b="1" dirty="0" smtClean="0">
              <a:solidFill>
                <a:schemeClr val="bg2"/>
              </a:solidFill>
            </a:endParaRPr>
          </a:p>
          <a:p>
            <a:pPr marL="458788" lvl="3" indent="-457200" algn="just" defTabSz="1019175" eaLnBrk="0" hangingPunct="0">
              <a:buClr>
                <a:schemeClr val="folHlink"/>
              </a:buClr>
              <a:buSzPct val="125000"/>
              <a:buFont typeface="Wingdings" pitchFamily="2" charset="2"/>
              <a:buChar char="§"/>
            </a:pPr>
            <a:r>
              <a:rPr lang="en-US" sz="2300" b="1" dirty="0" smtClean="0">
                <a:solidFill>
                  <a:schemeClr val="accent1"/>
                </a:solidFill>
                <a:sym typeface="Wingdings" pitchFamily="2" charset="2"/>
              </a:rPr>
              <a:t>Make the case that entering the capital markets is a serious thing!  And the Regental approval process that comes before it should be given ample time and attention </a:t>
            </a:r>
          </a:p>
          <a:p>
            <a:pPr marL="1373188" lvl="3" indent="-457200" algn="just" defTabSz="1019175" eaLnBrk="0" hangingPunct="0">
              <a:buClr>
                <a:schemeClr val="folHlink"/>
              </a:buClr>
              <a:buSzPct val="125000"/>
              <a:buFont typeface="Wingdings" pitchFamily="2" charset="2"/>
              <a:buChar char="§"/>
            </a:pPr>
            <a:endParaRPr lang="en-US" sz="2300" b="1" dirty="0" smtClean="0">
              <a:solidFill>
                <a:schemeClr val="accent1"/>
              </a:solidFill>
              <a:sym typeface="Wingdings" pitchFamily="2" charset="2"/>
            </a:endParaRPr>
          </a:p>
          <a:p>
            <a:pPr marL="458788" lvl="3" indent="-457200" algn="just" defTabSz="1019175" eaLnBrk="0" hangingPunct="0">
              <a:buClr>
                <a:schemeClr val="folHlink"/>
              </a:buClr>
              <a:buSzPct val="125000"/>
              <a:buFont typeface="Wingdings" pitchFamily="2" charset="2"/>
              <a:buChar char="§"/>
            </a:pPr>
            <a:r>
              <a:rPr lang="en-US" sz="2300" b="1" dirty="0" smtClean="0">
                <a:solidFill>
                  <a:schemeClr val="accent1"/>
                </a:solidFill>
                <a:sym typeface="Wingdings" pitchFamily="2" charset="2"/>
              </a:rPr>
              <a:t>Recommend that folks visit the CMF online guide:</a:t>
            </a:r>
          </a:p>
          <a:p>
            <a:pPr marL="506413" lvl="3" indent="4763" algn="just" defTabSz="1019175" eaLnBrk="0" hangingPunct="0">
              <a:buClr>
                <a:schemeClr val="folHlink"/>
              </a:buClr>
              <a:buSzPct val="125000"/>
            </a:pPr>
            <a:r>
              <a:rPr lang="en-US" sz="2300" b="1" dirty="0" smtClean="0">
                <a:solidFill>
                  <a:schemeClr val="accent1"/>
                </a:solidFill>
                <a:sym typeface="Wingdings" pitchFamily="2" charset="2"/>
                <a:hlinkClick r:id="rId4"/>
              </a:rPr>
              <a:t>http://www.ucop.edu/capmarketsfin/documents/capital-markets-finance-guide.pdf</a:t>
            </a:r>
            <a:endParaRPr lang="en-US" sz="2300" b="1" dirty="0" smtClean="0">
              <a:solidFill>
                <a:schemeClr val="accent1"/>
              </a:solidFill>
              <a:sym typeface="Wingdings" pitchFamily="2" charset="2"/>
            </a:endParaRPr>
          </a:p>
          <a:p>
            <a:pPr marL="1373188" lvl="3" indent="-457200" algn="just" defTabSz="1019175" eaLnBrk="0" hangingPunct="0">
              <a:buClr>
                <a:schemeClr val="folHlink"/>
              </a:buClr>
              <a:buSzPct val="125000"/>
              <a:buFont typeface="Wingdings" pitchFamily="2" charset="2"/>
              <a:buChar char="§"/>
            </a:pPr>
            <a:endParaRPr lang="en-US" sz="2300" b="1" dirty="0" smtClean="0">
              <a:solidFill>
                <a:schemeClr val="accent1"/>
              </a:solidFill>
              <a:sym typeface="Wingdings" pitchFamily="2" charset="2"/>
            </a:endParaRPr>
          </a:p>
          <a:p>
            <a:pPr marL="458788" lvl="3" indent="-457200" algn="just" defTabSz="1019175" eaLnBrk="0" hangingPunct="0">
              <a:buClr>
                <a:schemeClr val="folHlink"/>
              </a:buClr>
              <a:buSzPct val="125000"/>
              <a:buFont typeface="Wingdings" pitchFamily="2" charset="2"/>
              <a:buChar char="§"/>
            </a:pPr>
            <a:r>
              <a:rPr lang="en-US" sz="2300" b="1" dirty="0" smtClean="0">
                <a:solidFill>
                  <a:schemeClr val="accent1"/>
                </a:solidFill>
                <a:sym typeface="Wingdings" pitchFamily="2" charset="2"/>
              </a:rPr>
              <a:t>Assure campus colleagues that the financing approval process is clearly defined, and that a little advance communication goes a long way!</a:t>
            </a:r>
            <a:endParaRPr lang="en-US" sz="2300" b="1" dirty="0" smtClean="0">
              <a:solidFill>
                <a:schemeClr val="accent1"/>
              </a:solidFill>
              <a:latin typeface="+mn-lt"/>
              <a:sym typeface="Wingdings" pitchFamily="2" charset="2"/>
            </a:endParaRPr>
          </a:p>
        </p:txBody>
      </p:sp>
      <p:sp>
        <p:nvSpPr>
          <p:cNvPr id="7" name="Oval 6"/>
          <p:cNvSpPr/>
          <p:nvPr/>
        </p:nvSpPr>
        <p:spPr bwMode="auto">
          <a:xfrm>
            <a:off x="8915400" y="152400"/>
            <a:ext cx="990600" cy="990600"/>
          </a:xfrm>
          <a:prstGeom prst="ellips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8867900" y="297875"/>
            <a:ext cx="106680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Capital Markets Finance</a:t>
            </a:r>
            <a:endParaRPr lang="en-US" dirty="0"/>
          </a:p>
        </p:txBody>
      </p:sp>
    </p:spTree>
    <p:custDataLst>
      <p:tags r:id="rId1"/>
    </p:custDataLst>
  </p:cSld>
  <p:clrMapOvr>
    <a:masterClrMapping/>
  </p:clrMapOvr>
  <p:transition xmlns:p14="http://schemas.microsoft.com/office/powerpoint/2010/main">
    <p:cut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8353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90800" y="1219200"/>
            <a:ext cx="5416550" cy="5562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</p:spTree>
    <p:custDataLst>
      <p:tags r:id="rId1"/>
    </p:custData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Rectangle 2"/>
          <p:cNvSpPr>
            <a:spLocks noGrp="1" noChangeArrowheads="1"/>
          </p:cNvSpPr>
          <p:nvPr>
            <p:ph type="title"/>
          </p:nvPr>
        </p:nvSpPr>
        <p:spPr>
          <a:xfrm>
            <a:off x="762000" y="866775"/>
            <a:ext cx="8686800" cy="288925"/>
          </a:xfrm>
        </p:spPr>
        <p:txBody>
          <a:bodyPr/>
          <a:lstStyle/>
          <a:p>
            <a:r>
              <a:rPr lang="en-US" sz="2300" dirty="0" smtClean="0"/>
              <a:t>Follow-up from May 13</a:t>
            </a:r>
            <a:r>
              <a:rPr lang="en-US" sz="2300" baseline="30000" dirty="0" smtClean="0"/>
              <a:t>th</a:t>
            </a:r>
            <a:r>
              <a:rPr lang="en-US" sz="2300" dirty="0" smtClean="0"/>
              <a:t>  division-wide town hall… </a:t>
            </a:r>
            <a:endParaRPr lang="en-US" sz="2300" dirty="0" smtClean="0">
              <a:solidFill>
                <a:srgbClr val="FF0000"/>
              </a:solidFill>
            </a:endParaRPr>
          </a:p>
        </p:txBody>
      </p:sp>
      <p:grpSp>
        <p:nvGrpSpPr>
          <p:cNvPr id="18" name="Group 17"/>
          <p:cNvGrpSpPr/>
          <p:nvPr/>
        </p:nvGrpSpPr>
        <p:grpSpPr>
          <a:xfrm>
            <a:off x="1447800" y="1219200"/>
            <a:ext cx="3632886" cy="3733800"/>
            <a:chOff x="6858000" y="3276600"/>
            <a:chExt cx="2971800" cy="3352800"/>
          </a:xfrm>
        </p:grpSpPr>
        <p:sp>
          <p:nvSpPr>
            <p:cNvPr id="19" name="Explosion 2 18"/>
            <p:cNvSpPr/>
            <p:nvPr/>
          </p:nvSpPr>
          <p:spPr bwMode="auto">
            <a:xfrm>
              <a:off x="6858000" y="3276600"/>
              <a:ext cx="2971800" cy="3352800"/>
            </a:xfrm>
            <a:prstGeom prst="irregularSeal2">
              <a:avLst/>
            </a:prstGeom>
            <a:solidFill>
              <a:srgbClr val="F6EB0A"/>
            </a:solidFill>
            <a:ln w="2540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endParaRPr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7283301" y="4012456"/>
              <a:ext cx="1905000" cy="1958166"/>
            </a:xfrm>
            <a:prstGeom prst="rect">
              <a:avLst/>
            </a:prstGeom>
            <a:noFill/>
            <a:ln w="25400">
              <a:noFill/>
            </a:ln>
          </p:spPr>
          <p:txBody>
            <a:bodyPr wrap="square" rtlCol="0" anchor="ctr">
              <a:noAutofit/>
            </a:bodyPr>
            <a:lstStyle/>
            <a:p>
              <a:pPr algn="ctr"/>
              <a:r>
                <a:rPr lang="en-US" sz="2500" b="1" i="1" dirty="0" smtClean="0">
                  <a:solidFill>
                    <a:schemeClr val="accent1"/>
                  </a:solidFill>
                </a:rPr>
                <a:t>5/26 COVC</a:t>
              </a:r>
            </a:p>
            <a:p>
              <a:pPr algn="ctr"/>
              <a:r>
                <a:rPr lang="en-US" sz="2500" b="1" i="1" dirty="0" smtClean="0">
                  <a:solidFill>
                    <a:schemeClr val="accent1"/>
                  </a:solidFill>
                </a:rPr>
                <a:t>Presentation</a:t>
              </a:r>
              <a:endParaRPr lang="en-US" sz="2500" b="1" i="1" dirty="0">
                <a:solidFill>
                  <a:schemeClr val="accent1"/>
                </a:solidFill>
              </a:endParaRPr>
            </a:p>
          </p:txBody>
        </p:sp>
      </p:grpSp>
      <p:grpSp>
        <p:nvGrpSpPr>
          <p:cNvPr id="21" name="Group 20"/>
          <p:cNvGrpSpPr/>
          <p:nvPr/>
        </p:nvGrpSpPr>
        <p:grpSpPr>
          <a:xfrm>
            <a:off x="5511114" y="1219200"/>
            <a:ext cx="3632886" cy="3733800"/>
            <a:chOff x="6858000" y="3276600"/>
            <a:chExt cx="2971800" cy="3352800"/>
          </a:xfrm>
        </p:grpSpPr>
        <p:sp>
          <p:nvSpPr>
            <p:cNvPr id="22" name="Explosion 2 21"/>
            <p:cNvSpPr/>
            <p:nvPr/>
          </p:nvSpPr>
          <p:spPr bwMode="auto">
            <a:xfrm>
              <a:off x="6858000" y="3276600"/>
              <a:ext cx="2971800" cy="3352800"/>
            </a:xfrm>
            <a:prstGeom prst="irregularSeal2">
              <a:avLst/>
            </a:prstGeom>
            <a:solidFill>
              <a:srgbClr val="F6EB0A"/>
            </a:solidFill>
            <a:ln w="2540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endParaRPr>
            </a:p>
          </p:txBody>
        </p:sp>
        <p:sp>
          <p:nvSpPr>
            <p:cNvPr id="23" name="TextBox 22"/>
            <p:cNvSpPr txBox="1"/>
            <p:nvPr/>
          </p:nvSpPr>
          <p:spPr>
            <a:xfrm>
              <a:off x="7336453" y="4026769"/>
              <a:ext cx="1905000" cy="1958166"/>
            </a:xfrm>
            <a:prstGeom prst="rect">
              <a:avLst/>
            </a:prstGeom>
            <a:noFill/>
            <a:ln w="25400">
              <a:noFill/>
            </a:ln>
          </p:spPr>
          <p:txBody>
            <a:bodyPr wrap="square" rtlCol="0" anchor="ctr">
              <a:noAutofit/>
            </a:bodyPr>
            <a:lstStyle/>
            <a:p>
              <a:pPr algn="ctr"/>
              <a:r>
                <a:rPr lang="en-US" sz="2500" b="1" i="1" dirty="0" smtClean="0">
                  <a:solidFill>
                    <a:schemeClr val="accent1"/>
                  </a:solidFill>
                </a:rPr>
                <a:t>Performance Appraisals</a:t>
              </a:r>
              <a:endParaRPr lang="en-US" sz="2500" b="1" i="1" dirty="0">
                <a:solidFill>
                  <a:schemeClr val="accent1"/>
                </a:solidFill>
              </a:endParaRPr>
            </a:p>
          </p:txBody>
        </p:sp>
      </p:grpSp>
      <p:cxnSp>
        <p:nvCxnSpPr>
          <p:cNvPr id="25" name="Straight Arrow Connector 24"/>
          <p:cNvCxnSpPr/>
          <p:nvPr/>
        </p:nvCxnSpPr>
        <p:spPr bwMode="auto">
          <a:xfrm rot="16200000" flipH="1">
            <a:off x="2947931" y="4929130"/>
            <a:ext cx="933951" cy="28187"/>
          </a:xfrm>
          <a:prstGeom prst="straightConnector1">
            <a:avLst/>
          </a:prstGeom>
          <a:noFill/>
          <a:ln w="6350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26" name="Straight Arrow Connector 25"/>
          <p:cNvCxnSpPr/>
          <p:nvPr/>
        </p:nvCxnSpPr>
        <p:spPr bwMode="auto">
          <a:xfrm rot="16200000" flipH="1">
            <a:off x="6960787" y="4979588"/>
            <a:ext cx="1010153" cy="3473"/>
          </a:xfrm>
          <a:prstGeom prst="straightConnector1">
            <a:avLst/>
          </a:prstGeom>
          <a:noFill/>
          <a:ln w="6350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29" name="Rectangle 28"/>
          <p:cNvSpPr>
            <a:spLocks noChangeArrowheads="1"/>
          </p:cNvSpPr>
          <p:nvPr/>
        </p:nvSpPr>
        <p:spPr bwMode="gray">
          <a:xfrm>
            <a:off x="1524000" y="5443868"/>
            <a:ext cx="3581400" cy="11887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9" tIns="36571" rIns="36571" bIns="36571"/>
          <a:lstStyle/>
          <a:p>
            <a:pPr marL="209550" lvl="1" indent="-207963" algn="ctr" defTabSz="1019175" eaLnBrk="0" hangingPunct="0">
              <a:buClr>
                <a:schemeClr val="folHlink"/>
              </a:buClr>
              <a:buSzPct val="125000"/>
            </a:pPr>
            <a:r>
              <a:rPr lang="en-US" sz="4000" dirty="0" smtClean="0"/>
              <a:t>	Positive Reaction</a:t>
            </a:r>
          </a:p>
        </p:txBody>
      </p:sp>
      <p:sp>
        <p:nvSpPr>
          <p:cNvPr id="32" name="Rectangle 31"/>
          <p:cNvSpPr>
            <a:spLocks noChangeArrowheads="1"/>
          </p:cNvSpPr>
          <p:nvPr/>
        </p:nvSpPr>
        <p:spPr bwMode="gray">
          <a:xfrm>
            <a:off x="5638800" y="5520068"/>
            <a:ext cx="3581400" cy="11887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9" tIns="36571" rIns="36571" bIns="36571"/>
          <a:lstStyle/>
          <a:p>
            <a:pPr marL="209550" lvl="1" indent="-207963" algn="ctr" defTabSz="1019175" eaLnBrk="0" hangingPunct="0">
              <a:buClr>
                <a:schemeClr val="folHlink"/>
              </a:buClr>
              <a:buSzPct val="125000"/>
            </a:pPr>
            <a:r>
              <a:rPr lang="en-US" sz="4000" dirty="0" smtClean="0"/>
              <a:t>	Normalizing to “3” </a:t>
            </a:r>
          </a:p>
        </p:txBody>
      </p:sp>
    </p:spTree>
    <p:custDataLst>
      <p:tags r:id="rId1"/>
    </p:custDataLst>
  </p:cSld>
  <p:clrMapOvr>
    <a:masterClrMapping/>
  </p:clrMapOvr>
  <p:transition xmlns:p14="http://schemas.microsoft.com/office/powerpoint/2010/main">
    <p:cut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Rectangle 2"/>
          <p:cNvSpPr>
            <a:spLocks noGrp="1" noChangeArrowheads="1"/>
          </p:cNvSpPr>
          <p:nvPr>
            <p:ph type="title"/>
          </p:nvPr>
        </p:nvSpPr>
        <p:spPr>
          <a:xfrm>
            <a:off x="762000" y="866775"/>
            <a:ext cx="9296400" cy="288925"/>
          </a:xfrm>
        </p:spPr>
        <p:txBody>
          <a:bodyPr/>
          <a:lstStyle/>
          <a:p>
            <a:r>
              <a:rPr lang="en-US" sz="2300" dirty="0" smtClean="0"/>
              <a:t>“Employee Role in Performance Appraisal”… </a:t>
            </a:r>
            <a:endParaRPr lang="en-US" sz="2300" dirty="0" smtClean="0">
              <a:solidFill>
                <a:srgbClr val="FF0000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990600" y="3547408"/>
            <a:ext cx="8763000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4000" dirty="0" smtClean="0"/>
              <a:t>8/4, 9:00-11:00 a.m. </a:t>
            </a:r>
            <a:r>
              <a:rPr lang="en-US" sz="4000" dirty="0" smtClean="0">
                <a:solidFill>
                  <a:schemeClr val="accent1"/>
                </a:solidFill>
              </a:rPr>
              <a:t>@ 512 Kaiser </a:t>
            </a:r>
          </a:p>
          <a:p>
            <a:endParaRPr lang="en-US" sz="4000" dirty="0" smtClean="0"/>
          </a:p>
          <a:p>
            <a:r>
              <a:rPr lang="en-US" sz="4000" dirty="0" smtClean="0"/>
              <a:t>8/9, 1:00-3:00 p.m. </a:t>
            </a:r>
            <a:r>
              <a:rPr lang="en-US" sz="4000" dirty="0" smtClean="0">
                <a:solidFill>
                  <a:schemeClr val="accent1"/>
                </a:solidFill>
              </a:rPr>
              <a:t>@ 5320 Franklin </a:t>
            </a:r>
            <a:endParaRPr lang="en-US" sz="4000" dirty="0">
              <a:solidFill>
                <a:schemeClr val="accent1"/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1676400" y="1871008"/>
            <a:ext cx="7261924" cy="93871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5500" dirty="0" smtClean="0"/>
              <a:t>Only 2 workshops left!</a:t>
            </a:r>
            <a:endParaRPr lang="en-US" sz="5500" dirty="0"/>
          </a:p>
        </p:txBody>
      </p:sp>
    </p:spTree>
    <p:custDataLst>
      <p:tags r:id="rId1"/>
    </p:custDataLst>
  </p:cSld>
  <p:clrMapOvr>
    <a:masterClrMapping/>
  </p:clrMapOvr>
  <p:transition xmlns:p14="http://schemas.microsoft.com/office/powerpoint/2010/main">
    <p:cut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Rectangle 2"/>
          <p:cNvSpPr>
            <a:spLocks noGrp="1" noChangeArrowheads="1"/>
          </p:cNvSpPr>
          <p:nvPr>
            <p:ph type="title"/>
          </p:nvPr>
        </p:nvSpPr>
        <p:spPr>
          <a:xfrm>
            <a:off x="762000" y="838200"/>
            <a:ext cx="3733800" cy="288925"/>
          </a:xfrm>
        </p:spPr>
        <p:txBody>
          <a:bodyPr/>
          <a:lstStyle/>
          <a:p>
            <a:pPr lvl="1"/>
            <a:r>
              <a:rPr lang="en-US" sz="2300" dirty="0" smtClean="0"/>
              <a:t>Why are we here?</a:t>
            </a:r>
          </a:p>
        </p:txBody>
      </p:sp>
      <p:sp>
        <p:nvSpPr>
          <p:cNvPr id="56" name="TextBox 55"/>
          <p:cNvSpPr txBox="1"/>
          <p:nvPr/>
        </p:nvSpPr>
        <p:spPr>
          <a:xfrm rot="233865">
            <a:off x="5286126" y="655755"/>
            <a:ext cx="808076" cy="307777"/>
          </a:xfrm>
          <a:prstGeom prst="rect">
            <a:avLst/>
          </a:prstGeom>
          <a:noFill/>
          <a:ln w="5080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Values</a:t>
            </a:r>
          </a:p>
        </p:txBody>
      </p:sp>
      <p:pic>
        <p:nvPicPr>
          <p:cNvPr id="65538" name="Picture 2" descr="http://podcast.westsideroseville.org/podcasts/0/WhyAmIHere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057400" y="1524000"/>
            <a:ext cx="6435210" cy="4800600"/>
          </a:xfrm>
          <a:prstGeom prst="rect">
            <a:avLst/>
          </a:prstGeom>
          <a:noFill/>
        </p:spPr>
      </p:pic>
    </p:spTree>
    <p:custDataLst>
      <p:tags r:id="rId1"/>
    </p:custDataLst>
  </p:cSld>
  <p:clrMapOvr>
    <a:masterClrMapping/>
  </p:clrMapOvr>
  <p:transition xmlns:p14="http://schemas.microsoft.com/office/powerpoint/2010/main">
    <p:cut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Rectangle 2"/>
          <p:cNvSpPr>
            <a:spLocks noGrp="1" noChangeArrowheads="1"/>
          </p:cNvSpPr>
          <p:nvPr>
            <p:ph type="title"/>
          </p:nvPr>
        </p:nvSpPr>
        <p:spPr>
          <a:xfrm>
            <a:off x="762000" y="838200"/>
            <a:ext cx="5410200" cy="288925"/>
          </a:xfrm>
        </p:spPr>
        <p:txBody>
          <a:bodyPr/>
          <a:lstStyle/>
          <a:p>
            <a:pPr lvl="1"/>
            <a:r>
              <a:rPr lang="en-US" sz="2300" dirty="0" smtClean="0"/>
              <a:t>Because…</a:t>
            </a:r>
          </a:p>
        </p:txBody>
      </p:sp>
      <p:grpSp>
        <p:nvGrpSpPr>
          <p:cNvPr id="2" name="Group 8"/>
          <p:cNvGrpSpPr/>
          <p:nvPr/>
        </p:nvGrpSpPr>
        <p:grpSpPr>
          <a:xfrm>
            <a:off x="2602659" y="2643395"/>
            <a:ext cx="5943600" cy="3909805"/>
            <a:chOff x="2732567" y="2267989"/>
            <a:chExt cx="4661936" cy="3066704"/>
          </a:xfrm>
        </p:grpSpPr>
        <p:pic>
          <p:nvPicPr>
            <p:cNvPr id="51206" name="Picture 6" descr="http://holidaysandmemoriesmadeeasy.com/wp-content/uploads/2009/09/playdoh.jpg"/>
            <p:cNvPicPr>
              <a:picLocks noChangeAspect="1" noChangeArrowheads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01901" y="2267989"/>
              <a:ext cx="2362200" cy="3066704"/>
            </a:xfrm>
            <a:prstGeom prst="rect">
              <a:avLst/>
            </a:prstGeom>
            <a:noFill/>
          </p:spPr>
        </p:pic>
        <p:pic>
          <p:nvPicPr>
            <p:cNvPr id="51208" name="Picture 8" descr="http://www.enflyer.com/app/file_root/2346/Images/PlayDohFragrance.jpg"/>
            <p:cNvPicPr>
              <a:picLocks noChangeAspect="1" noChangeArrowheads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 rot="21424107">
              <a:off x="2732567" y="3581400"/>
              <a:ext cx="1219200" cy="1537447"/>
            </a:xfrm>
            <a:prstGeom prst="rect">
              <a:avLst/>
            </a:prstGeom>
            <a:noFill/>
          </p:spPr>
        </p:pic>
        <p:pic>
          <p:nvPicPr>
            <p:cNvPr id="8" name="Picture 8" descr="http://www.enflyer.com/app/file_root/2346/Images/PlayDohFragrance.jpg"/>
            <p:cNvPicPr>
              <a:picLocks noChangeAspect="1" noChangeArrowheads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 rot="233368">
              <a:off x="5881571" y="3124200"/>
              <a:ext cx="1512932" cy="1949914"/>
            </a:xfrm>
            <a:prstGeom prst="rect">
              <a:avLst/>
            </a:prstGeom>
            <a:noFill/>
          </p:spPr>
        </p:pic>
      </p:grpSp>
      <p:pic>
        <p:nvPicPr>
          <p:cNvPr id="51204" name="Picture 4" descr="Venus de Milo on display at the  Louvre">
            <a:hlinkClick r:id="rId7" tooltip="Venus de Milo on display at the  Louvre"/>
          </p:cNvPr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6850" y="1371600"/>
            <a:ext cx="885537" cy="1371600"/>
          </a:xfrm>
          <a:prstGeom prst="rect">
            <a:avLst/>
          </a:prstGeom>
          <a:noFill/>
          <a:ln w="25400">
            <a:solidFill>
              <a:schemeClr val="bg1">
                <a:lumMod val="50000"/>
              </a:schemeClr>
            </a:solidFill>
          </a:ln>
        </p:spPr>
      </p:pic>
      <p:cxnSp>
        <p:nvCxnSpPr>
          <p:cNvPr id="12" name="Straight Arrow Connector 11"/>
          <p:cNvCxnSpPr/>
          <p:nvPr/>
        </p:nvCxnSpPr>
        <p:spPr bwMode="auto">
          <a:xfrm>
            <a:off x="1905000" y="2286000"/>
            <a:ext cx="533402" cy="457201"/>
          </a:xfrm>
          <a:prstGeom prst="straightConnector1">
            <a:avLst/>
          </a:prstGeom>
          <a:noFill/>
          <a:ln w="25400" cap="flat" cmpd="sng" algn="ctr">
            <a:solidFill>
              <a:schemeClr val="bg1">
                <a:lumMod val="50000"/>
              </a:schemeClr>
            </a:solidFill>
            <a:prstDash val="sysDash"/>
            <a:round/>
            <a:headEnd type="none" w="med" len="med"/>
            <a:tailEnd type="triangle" w="lg" len="lg"/>
          </a:ln>
          <a:effectLst/>
        </p:spPr>
      </p:cxnSp>
      <p:cxnSp>
        <p:nvCxnSpPr>
          <p:cNvPr id="14" name="Straight Arrow Connector 13"/>
          <p:cNvCxnSpPr/>
          <p:nvPr/>
        </p:nvCxnSpPr>
        <p:spPr bwMode="auto">
          <a:xfrm>
            <a:off x="7467600" y="6096000"/>
            <a:ext cx="685800" cy="533400"/>
          </a:xfrm>
          <a:prstGeom prst="straightConnector1">
            <a:avLst/>
          </a:prstGeom>
          <a:noFill/>
          <a:ln w="25400" cap="flat" cmpd="sng" algn="ctr">
            <a:solidFill>
              <a:schemeClr val="bg1">
                <a:lumMod val="50000"/>
              </a:schemeClr>
            </a:solidFill>
            <a:prstDash val="sysDash"/>
            <a:round/>
            <a:headEnd type="none" w="med" len="med"/>
            <a:tailEnd type="triangle" w="lg" len="lg"/>
          </a:ln>
          <a:effectLst/>
        </p:spPr>
      </p:cxnSp>
      <p:pic>
        <p:nvPicPr>
          <p:cNvPr id="51210" name="Picture 10" descr="http://rockymountainfurnishing.com/images/categories/gg_microwave.jpg"/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176132" y="2743200"/>
            <a:ext cx="1543050" cy="974558"/>
          </a:xfrm>
          <a:prstGeom prst="rect">
            <a:avLst/>
          </a:prstGeom>
          <a:noFill/>
        </p:spPr>
      </p:pic>
      <p:cxnSp>
        <p:nvCxnSpPr>
          <p:cNvPr id="17" name="Straight Arrow Connector 16"/>
          <p:cNvCxnSpPr/>
          <p:nvPr/>
        </p:nvCxnSpPr>
        <p:spPr bwMode="auto">
          <a:xfrm>
            <a:off x="3558363" y="3767467"/>
            <a:ext cx="533402" cy="457201"/>
          </a:xfrm>
          <a:prstGeom prst="straightConnector1">
            <a:avLst/>
          </a:prstGeom>
          <a:noFill/>
          <a:ln w="25400" cap="flat" cmpd="sng" algn="ctr">
            <a:solidFill>
              <a:schemeClr val="bg1">
                <a:lumMod val="50000"/>
              </a:schemeClr>
            </a:solidFill>
            <a:prstDash val="sysDash"/>
            <a:round/>
            <a:headEnd type="none" w="med" len="med"/>
            <a:tailEnd type="triangle" w="lg" len="lg"/>
          </a:ln>
          <a:effectLst/>
        </p:spPr>
      </p:cxnSp>
      <p:pic>
        <p:nvPicPr>
          <p:cNvPr id="51202" name="Picture 2" descr="http://static.howstuffworks.com/gif/michelangelo-sculptures-13.jpg"/>
          <p:cNvPicPr>
            <a:picLocks noChangeAspect="1" noChangeArrowheads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229600" y="6148450"/>
            <a:ext cx="937846" cy="1219200"/>
          </a:xfrm>
          <a:prstGeom prst="rect">
            <a:avLst/>
          </a:prstGeom>
          <a:noFill/>
          <a:ln w="25400">
            <a:solidFill>
              <a:schemeClr val="bg1">
                <a:lumMod val="50000"/>
              </a:schemeClr>
            </a:solidFill>
          </a:ln>
        </p:spPr>
      </p:pic>
      <p:sp>
        <p:nvSpPr>
          <p:cNvPr id="28" name="TextBox 27"/>
          <p:cNvSpPr txBox="1"/>
          <p:nvPr/>
        </p:nvSpPr>
        <p:spPr>
          <a:xfrm>
            <a:off x="4724400" y="1143000"/>
            <a:ext cx="4572000" cy="738664"/>
          </a:xfrm>
          <a:prstGeom prst="rect">
            <a:avLst/>
          </a:prstGeom>
          <a:solidFill>
            <a:srgbClr val="F6EB0A"/>
          </a:solidFill>
          <a:ln w="50800">
            <a:solidFill>
              <a:schemeClr val="bg1">
                <a:lumMod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600" b="1" i="1" dirty="0" smtClean="0">
                <a:solidFill>
                  <a:schemeClr val="bg1">
                    <a:lumMod val="50000"/>
                  </a:schemeClr>
                </a:solidFill>
              </a:rPr>
              <a:t>We can help shape change</a:t>
            </a:r>
          </a:p>
          <a:p>
            <a:pPr algn="ctr"/>
            <a:r>
              <a:rPr lang="en-US" sz="1600" b="1" i="1" dirty="0" smtClean="0">
                <a:solidFill>
                  <a:schemeClr val="bg1">
                    <a:lumMod val="50000"/>
                  </a:schemeClr>
                </a:solidFill>
              </a:rPr>
              <a:t>(i.e., future leaders of UCOP)</a:t>
            </a:r>
          </a:p>
        </p:txBody>
      </p:sp>
      <p:cxnSp>
        <p:nvCxnSpPr>
          <p:cNvPr id="29" name="Straight Arrow Connector 28"/>
          <p:cNvCxnSpPr>
            <a:stCxn id="28" idx="2"/>
          </p:cNvCxnSpPr>
          <p:nvPr/>
        </p:nvCxnSpPr>
        <p:spPr bwMode="auto">
          <a:xfrm rot="5400000">
            <a:off x="6389134" y="2121932"/>
            <a:ext cx="861535" cy="380999"/>
          </a:xfrm>
          <a:prstGeom prst="straightConnector1">
            <a:avLst/>
          </a:prstGeom>
          <a:noFill/>
          <a:ln w="50800" cap="sq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triangle" w="lg" len="lg"/>
          </a:ln>
          <a:effectLst/>
        </p:spPr>
      </p:cxnSp>
    </p:spTree>
    <p:custDataLst>
      <p:tags r:id="rId1"/>
    </p:custDataLst>
  </p:cSld>
  <p:clrMapOvr>
    <a:masterClrMapping/>
  </p:clrMapOvr>
  <p:transition xmlns:p14="http://schemas.microsoft.com/office/powerpoint/2010/main">
    <p:cut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ACTIVE_TEMPLATE" val="Pitchbook-US"/>
  <p:tag name="JPM_AGENDA_PAGE_TITLE" val="Agenda"/>
  <p:tag name="JPM_APPENDIX_PAGE_TITLE" val=" "/>
  <p:tag name="JPM_BASE_TEMPLATE" val="Pitchbook-US.pot"/>
  <p:tag name="JPM_BRAND" val="JPMorgan"/>
  <p:tag name="JPM_CONTINUOUS_NUMBERING" val="True"/>
  <p:tag name="JPM_RESTART_NUMBERS" val="False"/>
  <p:tag name="JPM_PAGE_NUMBERS" val="True"/>
  <p:tag name="JPM_SECTION_NUMBERS" val="False"/>
  <p:tag name="JPM_TRACKERS" val="True"/>
  <p:tag name="JPM_NUMBER_PAGES" val="True"/>
  <p:tag name="JPM_TRACKER_FILENAME_ONLY" val="False"/>
  <p:tag name="JPM_TRACKER_FULL_PATH" val="True"/>
  <p:tag name="JPM_TRACKER_USER_PATH" val="False"/>
  <p:tag name="JPM_TRACKER_USER_PATH_TEXT" val=" "/>
  <p:tag name="JPM_TRACKER_NONE" val="Fals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OBJECT_NAME" val="jpmBrandCover"/>
  <p:tag name="JPM_BRAND" val="JPMorgan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OBJECT_NAME" val="jpmBrandCover"/>
  <p:tag name="JPM_BRAND" val="JPMorgan Flemin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BRAND" val="JPMorgan Chase"/>
  <p:tag name="JPM_OBJECT_NAME" val="jpmBrandCover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OBJECT_NAME" val="jpmBrandCover"/>
  <p:tag name="JPM_BRAND" val="JPMorgan Partners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SLIDE_ROLE" val="jpmCover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12.gn9snKEivUl2jpdhlh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4lbHIENwCkmdrhOgRgd02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GDu3ygOdU21nfXvyztl5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12.gn9snKEivUl2jpdhlh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97vh90X6pEmiRWKx2D2kl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OBJECT_NAME" val="jpmSlideMasterVerticalRul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97vh90X6pEmiRWKx2D2kl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SLIDE_ROLE" val="jpmPag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SLIDE_ROLE" val="jpmPag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SLIDE_ROLE" val="jpmPag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SLIDE_ROLE" val="jpmPag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SLIDE_ROLE" val="jpmPag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SLIDE_ROLE" val="jpmPag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SLIDE_ROLE" val="jpmPag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SLIDE_ROLE" val="jpmPag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SLIDE_ROLE" val="jpmPag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GDu3ygOdU21nfXvyztl5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SLIDE_ROLE" val="jpmPag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SLIDE_ROLE" val="jpmPag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SLIDE_ROLE" val="jpmPag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SLIDE_ROLE" val="jpmPag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SLIDE_ROLE" val="jpmPag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SLIDE_ROLE" val="jpmPag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SLIDE_ROLE" val="jpmPag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SLIDE_ROLE" val="jpmPag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SLIDE_ROLE" val="jpmPag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SLIDE_ROLE" val="jpmPag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OBJECT_NAME" val="jpmStamp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SLIDE_ROLE" val="jpmCover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SLIDE_ROLE" val="jpmPag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SLIDE_ROLE" val="jpmPag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SLIDE_ROLE" val="jpmCover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12.gn9snKEivUl2jpdhlh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4lbHIENwCkmdrhOgRgd02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GDu3ygOdU21nfXvyztl5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12.gn9snKEivUl2jpdhlh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97vh90X6pEmiRWKx2D2kl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97vh90X6pEmiRWKx2D2kl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OBJECT_NAME" val="jpmBrandCover"/>
  <p:tag name="JPM_BRAND" val="JF Asset Management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SLIDE_ROLE" val="jpmPag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SLIDE_ROLE" val="jpmPag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SLIDE_ROLE" val="jpmPag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SLIDE_ROLE" val="jpmPag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SLIDE_ROLE" val="jpmPag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SLIDE_ROLE" val="jpmPag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SLIDE_ROLE" val="jpmPag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SLIDE_ROLE" val="jpmPag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SLIDE_ROLE" val="jpmPag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SLIDE_ROLE" val="jpmPag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OBJECT_NAME" val="jpmBrandCover"/>
  <p:tag name="JPM_BRAND" val="JF Funds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SLIDE_ROLE" val="jpmPag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SLIDE_ROLE" val="jpmPag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SLIDE_ROLE" val="jpmPag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SLIDE_ROLE" val="jpmPag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SLIDE_ROLE" val="jpmPag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SLIDE_ROLE" val="jpmPag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SLIDE_ROLE" val="jpmPag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SLIDE_ROLE" val="jpmPag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SLIDE_ROLE" val="jpmPag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SLIDE_ROLE" val="jpmPag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OBJECT_NAME" val="jpmBrandCover"/>
  <p:tag name="JPM_BRAND" val="JPMorgan Cazenov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SLIDE_ROLE" val="jpmPag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SLIDE_ROLE" val="jpmPag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SLIDE_ROLE" val="jpmPag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SLIDE_ROLE" val="jpmPag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SLIDE_ROLE" val="jpmPag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SLIDE_ROLE" val="jpmCover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OBJECT_NAME" val="jpmBrandCover"/>
  <p:tag name="JPM_BRAND" val="JPMorgan Private Bank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OBJECT_NAME" val="jpmBrandCover"/>
  <p:tag name="JPM_BRAND" val="Chase"/>
</p:tagLst>
</file>

<file path=ppt/theme/theme1.xml><?xml version="1.0" encoding="utf-8"?>
<a:theme xmlns:a="http://schemas.openxmlformats.org/drawingml/2006/main" name="Pitchbook-US">
  <a:themeElements>
    <a:clrScheme name="Pitchbook-US 1">
      <a:dk1>
        <a:srgbClr val="000000"/>
      </a:dk1>
      <a:lt1>
        <a:srgbClr val="FFFFFF"/>
      </a:lt1>
      <a:dk2>
        <a:srgbClr val="EAEAEA"/>
      </a:dk2>
      <a:lt2>
        <a:srgbClr val="264E84"/>
      </a:lt2>
      <a:accent1>
        <a:srgbClr val="6490CB"/>
      </a:accent1>
      <a:accent2>
        <a:srgbClr val="5FA364"/>
      </a:accent2>
      <a:accent3>
        <a:srgbClr val="FFFFFF"/>
      </a:accent3>
      <a:accent4>
        <a:srgbClr val="000000"/>
      </a:accent4>
      <a:accent5>
        <a:srgbClr val="B8C6E2"/>
      </a:accent5>
      <a:accent6>
        <a:srgbClr val="55935A"/>
      </a:accent6>
      <a:hlink>
        <a:srgbClr val="D6BC38"/>
      </a:hlink>
      <a:folHlink>
        <a:srgbClr val="264E84"/>
      </a:folHlink>
    </a:clrScheme>
    <a:fontScheme name="Pitchbook-US">
      <a:majorFont>
        <a:latin typeface="Trebuchet MS"/>
        <a:ea typeface="LF_Kai"/>
        <a:cs typeface=""/>
      </a:majorFont>
      <a:minorFont>
        <a:latin typeface="Trebuchet MS"/>
        <a:ea typeface="LF_Ka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FF00"/>
        </a:solidFill>
        <a:ln w="25400" cap="flat" cmpd="sng" algn="ctr">
          <a:solidFill>
            <a:srgbClr val="FFCC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45720" tIns="45720" rIns="4572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45720" tIns="45720" rIns="4572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</a:defRPr>
        </a:defPPr>
      </a:lstStyle>
    </a:lnDef>
    <a:txDef>
      <a:spPr>
        <a:solidFill>
          <a:schemeClr val="accent1"/>
        </a:solidFill>
        <a:ln w="25400">
          <a:solidFill>
            <a:schemeClr val="bg2"/>
          </a:solidFill>
        </a:ln>
      </a:spPr>
      <a:bodyPr wrap="square" rtlCol="0">
        <a:spAutoFit/>
      </a:bodyPr>
      <a:lstStyle>
        <a:defPPr algn="ctr">
          <a:defRPr dirty="0" smtClean="0">
            <a:solidFill>
              <a:schemeClr val="bg1"/>
            </a:solidFill>
          </a:defRPr>
        </a:defPPr>
      </a:lstStyle>
    </a:txDef>
  </a:objectDefaults>
  <a:extraClrSchemeLst>
    <a:extraClrScheme>
      <a:clrScheme name="Pitchbook-US 1">
        <a:dk1>
          <a:srgbClr val="000000"/>
        </a:dk1>
        <a:lt1>
          <a:srgbClr val="FFFFFF"/>
        </a:lt1>
        <a:dk2>
          <a:srgbClr val="EAEAEA"/>
        </a:dk2>
        <a:lt2>
          <a:srgbClr val="264E84"/>
        </a:lt2>
        <a:accent1>
          <a:srgbClr val="6490CB"/>
        </a:accent1>
        <a:accent2>
          <a:srgbClr val="5FA364"/>
        </a:accent2>
        <a:accent3>
          <a:srgbClr val="FFFFFF"/>
        </a:accent3>
        <a:accent4>
          <a:srgbClr val="000000"/>
        </a:accent4>
        <a:accent5>
          <a:srgbClr val="B8C6E2"/>
        </a:accent5>
        <a:accent6>
          <a:srgbClr val="55935A"/>
        </a:accent6>
        <a:hlink>
          <a:srgbClr val="D6BC38"/>
        </a:hlink>
        <a:folHlink>
          <a:srgbClr val="264E8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E6EAD0"/>
      </a:dk2>
      <a:lt2>
        <a:srgbClr val="2C5280"/>
      </a:lt2>
      <a:accent1>
        <a:srgbClr val="799656"/>
      </a:accent1>
      <a:accent2>
        <a:srgbClr val="D6BC38"/>
      </a:accent2>
      <a:accent3>
        <a:srgbClr val="FFFFFF"/>
      </a:accent3>
      <a:accent4>
        <a:srgbClr val="000000"/>
      </a:accent4>
      <a:accent5>
        <a:srgbClr val="BEC9B4"/>
      </a:accent5>
      <a:accent6>
        <a:srgbClr val="C2AA32"/>
      </a:accent6>
      <a:hlink>
        <a:srgbClr val="6490CB"/>
      </a:hlink>
      <a:folHlink>
        <a:srgbClr val="9579A1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itchbook-US</Template>
  <TotalTime>14122</TotalTime>
  <Words>2844</Words>
  <Application>Microsoft Macintosh PowerPoint</Application>
  <PresentationFormat>Custom</PresentationFormat>
  <Paragraphs>512</Paragraphs>
  <Slides>54</Slides>
  <Notes>50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54</vt:i4>
      </vt:variant>
    </vt:vector>
  </HeadingPairs>
  <TitlesOfParts>
    <vt:vector size="55" baseType="lpstr">
      <vt:lpstr>Pitchbook-US</vt:lpstr>
      <vt:lpstr>PowerPoint Presentation</vt:lpstr>
      <vt:lpstr>Agenda</vt:lpstr>
      <vt:lpstr>PowerPoint Presentation</vt:lpstr>
      <vt:lpstr>PowerPoint Presentation</vt:lpstr>
      <vt:lpstr>PowerPoint Presentation</vt:lpstr>
      <vt:lpstr>Follow-up from May 13th  division-wide town hall… </vt:lpstr>
      <vt:lpstr>“Employee Role in Performance Appraisal”… </vt:lpstr>
      <vt:lpstr>Why are we here?</vt:lpstr>
      <vt:lpstr>Because…</vt:lpstr>
      <vt:lpstr>Also here to talk about… </vt:lpstr>
      <vt:lpstr>PowerPoint Presentation</vt:lpstr>
      <vt:lpstr>What’s LDP?  </vt:lpstr>
      <vt:lpstr>Why are we talking about LDP today?</vt:lpstr>
      <vt:lpstr>Do you ever feel like you are… </vt:lpstr>
      <vt:lpstr>Let’s brainstorm… </vt:lpstr>
      <vt:lpstr>Verbal case studies:  3 parts </vt:lpstr>
      <vt:lpstr>Game time in 4 steps</vt:lpstr>
      <vt:lpstr>Wrap-up…</vt:lpstr>
      <vt:lpstr>LDP Panel… </vt:lpstr>
      <vt:lpstr>PowerPoint Presentation</vt:lpstr>
      <vt:lpstr>Customer groups… are these the right categories?</vt:lpstr>
      <vt:lpstr>If we did a CFO Division Customer Service Survey… </vt:lpstr>
      <vt:lpstr>PowerPoint Presentation</vt:lpstr>
      <vt:lpstr>Future meetings</vt:lpstr>
      <vt:lpstr>PowerPoint Presentation</vt:lpstr>
      <vt:lpstr>Follow-Ups:  we came up with 7 case studies during town hall</vt:lpstr>
      <vt:lpstr>Follow-Ups:  we chose 3 case studies for LDP</vt:lpstr>
      <vt:lpstr>PowerPoint Presentation</vt:lpstr>
      <vt:lpstr>Case studies:  structured in 5 parts </vt:lpstr>
      <vt:lpstr>Case Study A:  Day in the life of Risk Services</vt:lpstr>
      <vt:lpstr>Case Study A:  Part 1 – Background Story</vt:lpstr>
      <vt:lpstr>Case Study A:  Part 2 – Two Perspectives</vt:lpstr>
      <vt:lpstr>Case Study A:  Part 3 – Two Layers of Learning</vt:lpstr>
      <vt:lpstr>Case Study A:  Part 3 – General Lesson (in detail)</vt:lpstr>
      <vt:lpstr>Case Study A:  Part 3 – Technical Lesson (in detail)</vt:lpstr>
      <vt:lpstr>Case Study A:  Part 4 – How might this relate to your area?</vt:lpstr>
      <vt:lpstr>Case Study A:  Part 5 – What can you do as a leader?</vt:lpstr>
      <vt:lpstr>Case Study B:  Day in the life of Central Travel Mgmt.</vt:lpstr>
      <vt:lpstr>Case Study B:  Part 1 – Background Story</vt:lpstr>
      <vt:lpstr>Case Study B:  Part 2 – Two Perspectives</vt:lpstr>
      <vt:lpstr>Case Study B:  Part 3 – Two Layers of Learning</vt:lpstr>
      <vt:lpstr>Case Study B:  Part 3 – General Lesson (in detail)</vt:lpstr>
      <vt:lpstr>Case Study B:  Part 3 – Technical Lesson (in detail)</vt:lpstr>
      <vt:lpstr>Case Study B:  Part 4 – How might this relate to your area?</vt:lpstr>
      <vt:lpstr>Case Study B:  Part 5 – What can you do as a leader?</vt:lpstr>
      <vt:lpstr>Case Study C:  Day in the life of Capital Markets Finance</vt:lpstr>
      <vt:lpstr>Case Study C:  Part 1 – Background story</vt:lpstr>
      <vt:lpstr>Case Study C:  Part 2 – Two perspectives</vt:lpstr>
      <vt:lpstr>Case Study C:  Part 3 – Two layers of learning</vt:lpstr>
      <vt:lpstr>Case Study C:  Part 3 – General Lesson (in detail)</vt:lpstr>
      <vt:lpstr>Case Study C:  Part 3 – Technical Lesson (in detail)</vt:lpstr>
      <vt:lpstr>Case Study C:  Part 4 – How might this relate to your area?</vt:lpstr>
      <vt:lpstr>Case Study C:  Part 5 – What can you do as a leader?</vt:lpstr>
      <vt:lpstr>PowerPoint Presentation</vt:lpstr>
    </vt:vector>
  </TitlesOfParts>
  <Manager/>
  <Company/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0</dc:title>
  <dc:subject/>
  <dc:creator/>
  <cp:keywords/>
  <cp:lastModifiedBy>Corey Mahoney</cp:lastModifiedBy>
  <cp:revision>1973</cp:revision>
  <cp:lastPrinted>2002-05-20T22:18:19Z</cp:lastPrinted>
  <dcterms:created xsi:type="dcterms:W3CDTF">2002-01-15T15:45:57Z</dcterms:created>
  <dcterms:modified xsi:type="dcterms:W3CDTF">2012-08-23T23:20:32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VersionCurrent">
    <vt:lpwstr>2.2.0</vt:lpwstr>
  </property>
  <property fmtid="{D5CDD505-2E9C-101B-9397-08002B2CF9AE}" pid="3" name="VersionOriginal">
    <vt:lpwstr>2.2.0</vt:lpwstr>
  </property>
  <property fmtid="{D5CDD505-2E9C-101B-9397-08002B2CF9AE}" pid="4" name="ProductID">
    <vt:lpwstr>2.2.0</vt:lpwstr>
  </property>
</Properties>
</file>